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2.xml" ContentType="application/vnd.openxmlformats-officedocument.presentationml.notesSlide+xml"/>
  <Override PartName="/ppt/tags/tag6.xml" ContentType="application/vnd.openxmlformats-officedocument.presentationml.tags+xml"/>
  <Override PartName="/ppt/notesSlides/notesSlide3.xml" ContentType="application/vnd.openxmlformats-officedocument.presentationml.notesSlide+xml"/>
  <Override PartName="/ppt/tags/tag7.xml" ContentType="application/vnd.openxmlformats-officedocument.presentationml.tags+xml"/>
  <Override PartName="/ppt/notesSlides/notesSlide4.xml" ContentType="application/vnd.openxmlformats-officedocument.presentationml.notesSlide+xml"/>
  <Override PartName="/ppt/tags/tag8.xml" ContentType="application/vnd.openxmlformats-officedocument.presentationml.tags+xml"/>
  <Override PartName="/ppt/notesSlides/notesSlide5.xml" ContentType="application/vnd.openxmlformats-officedocument.presentationml.notesSlide+xml"/>
  <Override PartName="/ppt/tags/tag9.xml" ContentType="application/vnd.openxmlformats-officedocument.presentationml.tags+xml"/>
  <Override PartName="/ppt/notesSlides/notesSlide6.xml" ContentType="application/vnd.openxmlformats-officedocument.presentationml.notesSlide+xml"/>
  <Override PartName="/ppt/tags/tag10.xml" ContentType="application/vnd.openxmlformats-officedocument.presentationml.tags+xml"/>
  <Override PartName="/ppt/notesSlides/notesSlide7.xml" ContentType="application/vnd.openxmlformats-officedocument.presentationml.notesSlide+xml"/>
  <Override PartName="/ppt/tags/tag11.xml" ContentType="application/vnd.openxmlformats-officedocument.presentationml.tags+xml"/>
  <Override PartName="/ppt/notesSlides/notesSlide8.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notesSlides/notesSlide9.xml" ContentType="application/vnd.openxmlformats-officedocument.presentationml.notesSlide+xml"/>
  <Override PartName="/ppt/tags/tag14.xml" ContentType="application/vnd.openxmlformats-officedocument.presentationml.tags+xml"/>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760" r:id="rId4"/>
    <p:sldMasterId id="2147483779" r:id="rId5"/>
  </p:sldMasterIdLst>
  <p:notesMasterIdLst>
    <p:notesMasterId r:id="rId17"/>
  </p:notesMasterIdLst>
  <p:handoutMasterIdLst>
    <p:handoutMasterId r:id="rId18"/>
  </p:handoutMasterIdLst>
  <p:sldIdLst>
    <p:sldId id="295" r:id="rId6"/>
    <p:sldId id="293" r:id="rId7"/>
    <p:sldId id="257" r:id="rId8"/>
    <p:sldId id="258" r:id="rId9"/>
    <p:sldId id="294" r:id="rId10"/>
    <p:sldId id="296" r:id="rId11"/>
    <p:sldId id="297" r:id="rId12"/>
    <p:sldId id="298" r:id="rId13"/>
    <p:sldId id="299" r:id="rId14"/>
    <p:sldId id="291" r:id="rId15"/>
    <p:sldId id="292" r:id="rId16"/>
  </p:sldIdLst>
  <p:sldSz cx="12188825" cy="6858000"/>
  <p:notesSz cx="6858000" cy="9296400"/>
  <p:embeddedFontLst>
    <p:embeddedFont>
      <p:font typeface="Segoe Light" pitchFamily="34" charset="0"/>
      <p:regular r:id="rId19"/>
      <p:italic r:id="rId20"/>
    </p:embeddedFont>
    <p:embeddedFont>
      <p:font typeface="Segoe UI Light" pitchFamily="34" charset="0"/>
      <p:regular r:id="rId21"/>
    </p:embeddedFont>
    <p:embeddedFont>
      <p:font typeface="Segoe UI" pitchFamily="34" charset="0"/>
      <p:regular r:id="rId22"/>
      <p:bold r:id="rId23"/>
      <p:italic r:id="rId24"/>
      <p:boldItalic r:id="rId25"/>
    </p:embeddedFont>
    <p:embeddedFont>
      <p:font typeface="Consolas" pitchFamily="49" charset="0"/>
      <p:regular r:id="rId26"/>
      <p:bold r:id="rId27"/>
      <p:italic r:id="rId28"/>
      <p:boldItalic r:id="rId29"/>
    </p:embeddedFont>
  </p:embeddedFontLst>
  <p:custDataLst>
    <p:tags r:id="rId30"/>
  </p:custDataLst>
  <p:defaultTex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p:defaultTextStyle>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95959"/>
    <a:srgbClr val="6F6F6F"/>
    <a:srgbClr val="303030"/>
    <a:srgbClr val="47474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1247" autoAdjust="0"/>
    <p:restoredTop sz="89076" autoAdjust="0"/>
  </p:normalViewPr>
  <p:slideViewPr>
    <p:cSldViewPr snapToGrid="0">
      <p:cViewPr varScale="1">
        <p:scale>
          <a:sx n="51" d="100"/>
          <a:sy n="51" d="100"/>
        </p:scale>
        <p:origin x="-660" y="-90"/>
      </p:cViewPr>
      <p:guideLst>
        <p:guide orient="horz" pos="895"/>
        <p:guide orient="horz" pos="719"/>
        <p:guide orient="horz" pos="4166"/>
        <p:guide orient="horz" pos="3937"/>
        <p:guide orient="horz" pos="1068"/>
        <p:guide pos="326"/>
        <p:guide pos="7355"/>
        <p:guide pos="3829"/>
      </p:guideLst>
    </p:cSldViewPr>
  </p:slideViewPr>
  <p:notesTextViewPr>
    <p:cViewPr>
      <p:scale>
        <a:sx n="100" d="100"/>
        <a:sy n="100" d="100"/>
      </p:scale>
      <p:origin x="0" y="0"/>
    </p:cViewPr>
  </p:notesTextViewPr>
  <p:sorterViewPr>
    <p:cViewPr>
      <p:scale>
        <a:sx n="60" d="100"/>
        <a:sy n="60" d="100"/>
      </p:scale>
      <p:origin x="0" y="2838"/>
    </p:cViewPr>
  </p:sorterViewPr>
  <p:notesViewPr>
    <p:cSldViewPr snapToGrid="0" showGuides="1">
      <p:cViewPr varScale="1">
        <p:scale>
          <a:sx n="78" d="100"/>
          <a:sy n="78" d="100"/>
        </p:scale>
        <p:origin x="-2622" y="-102"/>
      </p:cViewPr>
      <p:guideLst>
        <p:guide orient="horz" pos="2928"/>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handoutMaster" Target="handoutMasters/handoutMaster1.xml"/><Relationship Id="rId26" Type="http://schemas.openxmlformats.org/officeDocument/2006/relationships/font" Target="fonts/font8.fntdata"/><Relationship Id="rId3" Type="http://schemas.openxmlformats.org/officeDocument/2006/relationships/customXml" Target="../customXml/item3.xml"/><Relationship Id="rId21" Type="http://schemas.openxmlformats.org/officeDocument/2006/relationships/font" Target="fonts/font3.fntdata"/><Relationship Id="rId34" Type="http://schemas.openxmlformats.org/officeDocument/2006/relationships/tableStyles" Target="tableStyle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notesMaster" Target="notesMasters/notesMaster1.xml"/><Relationship Id="rId25" Type="http://schemas.openxmlformats.org/officeDocument/2006/relationships/font" Target="fonts/font7.fntdata"/><Relationship Id="rId33"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font" Target="fonts/font2.fntdata"/><Relationship Id="rId29" Type="http://schemas.openxmlformats.org/officeDocument/2006/relationships/font" Target="fonts/font11.fntdata"/><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font" Target="fonts/font6.fntdata"/><Relationship Id="rId32"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font" Target="fonts/font5.fntdata"/><Relationship Id="rId28" Type="http://schemas.openxmlformats.org/officeDocument/2006/relationships/font" Target="fonts/font10.fntdata"/><Relationship Id="rId10" Type="http://schemas.openxmlformats.org/officeDocument/2006/relationships/slide" Target="slides/slide5.xml"/><Relationship Id="rId19" Type="http://schemas.openxmlformats.org/officeDocument/2006/relationships/font" Target="fonts/font1.fntdata"/><Relationship Id="rId31"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font" Target="fonts/font4.fntdata"/><Relationship Id="rId27" Type="http://schemas.openxmlformats.org/officeDocument/2006/relationships/font" Target="fonts/font9.fntdata"/><Relationship Id="rId30"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5138"/>
          </a:xfrm>
          <a:prstGeom prst="rect">
            <a:avLst/>
          </a:prstGeom>
        </p:spPr>
        <p:txBody>
          <a:bodyPr vert="horz" lIns="91440" tIns="45720" rIns="91440" bIns="45720" rtlCol="0"/>
          <a:lstStyle>
            <a:lvl1pPr algn="l">
              <a:defRPr sz="1200"/>
            </a:lvl1pPr>
          </a:lstStyle>
          <a:p>
            <a:r>
              <a:rPr lang="en-US" dirty="0" smtClean="0">
                <a:latin typeface="Segoe UI" pitchFamily="34" charset="0"/>
              </a:rPr>
              <a:t>Windows Azure Overview</a:t>
            </a:r>
            <a:endParaRPr lang="en-US" dirty="0">
              <a:latin typeface="Segoe UI" pitchFamily="34" charset="0"/>
            </a:endParaRPr>
          </a:p>
        </p:txBody>
      </p:sp>
      <p:sp>
        <p:nvSpPr>
          <p:cNvPr id="3" name="Date Placeholder 2"/>
          <p:cNvSpPr>
            <a:spLocks noGrp="1"/>
          </p:cNvSpPr>
          <p:nvPr>
            <p:ph type="dt" sz="quarter" idx="1"/>
          </p:nvPr>
        </p:nvSpPr>
        <p:spPr>
          <a:xfrm>
            <a:off x="3884613" y="0"/>
            <a:ext cx="2971800" cy="465138"/>
          </a:xfrm>
          <a:prstGeom prst="rect">
            <a:avLst/>
          </a:prstGeom>
        </p:spPr>
        <p:txBody>
          <a:bodyPr vert="horz" lIns="91440" tIns="45720" rIns="91440" bIns="45720" rtlCol="0"/>
          <a:lstStyle>
            <a:lvl1pPr algn="r">
              <a:defRPr sz="1200"/>
            </a:lvl1pPr>
          </a:lstStyle>
          <a:p>
            <a:fld id="{126C4AC0-4315-44D1-8268-F58D6F432E18}" type="datetimeFigureOut">
              <a:rPr lang="en-US" smtClean="0">
                <a:latin typeface="Segoe UI" pitchFamily="34" charset="0"/>
              </a:rPr>
              <a:t>5/2/2012</a:t>
            </a:fld>
            <a:endParaRPr lang="en-US" dirty="0">
              <a:latin typeface="Segoe UI" pitchFamily="34" charset="0"/>
            </a:endParaRPr>
          </a:p>
        </p:txBody>
      </p:sp>
      <p:sp>
        <p:nvSpPr>
          <p:cNvPr id="4" name="Footer Placeholder 3"/>
          <p:cNvSpPr>
            <a:spLocks noGrp="1"/>
          </p:cNvSpPr>
          <p:nvPr>
            <p:ph type="ftr" sz="quarter" idx="2"/>
          </p:nvPr>
        </p:nvSpPr>
        <p:spPr>
          <a:xfrm>
            <a:off x="0" y="8829675"/>
            <a:ext cx="2971800" cy="465138"/>
          </a:xfrm>
          <a:prstGeom prst="rect">
            <a:avLst/>
          </a:prstGeom>
        </p:spPr>
        <p:txBody>
          <a:bodyPr vert="horz" lIns="91440" tIns="45720" rIns="91440" bIns="45720" rtlCol="0" anchor="b"/>
          <a:lstStyle>
            <a:lvl1pPr algn="l">
              <a:defRPr sz="1200"/>
            </a:lvl1pPr>
          </a:lstStyle>
          <a:p>
            <a:endParaRPr lang="en-US" dirty="0">
              <a:latin typeface="Segoe UI" pitchFamily="34" charset="0"/>
            </a:endParaRPr>
          </a:p>
        </p:txBody>
      </p:sp>
      <p:sp>
        <p:nvSpPr>
          <p:cNvPr id="5" name="Slide Number Placeholder 4"/>
          <p:cNvSpPr>
            <a:spLocks noGrp="1"/>
          </p:cNvSpPr>
          <p:nvPr>
            <p:ph type="sldNum" sz="quarter" idx="3"/>
          </p:nvPr>
        </p:nvSpPr>
        <p:spPr>
          <a:xfrm>
            <a:off x="3884613" y="8829675"/>
            <a:ext cx="2971800" cy="465138"/>
          </a:xfrm>
          <a:prstGeom prst="rect">
            <a:avLst/>
          </a:prstGeom>
        </p:spPr>
        <p:txBody>
          <a:bodyPr vert="horz" lIns="91440" tIns="45720" rIns="91440" bIns="45720" rtlCol="0" anchor="b"/>
          <a:lstStyle>
            <a:lvl1pPr algn="r">
              <a:defRPr sz="1200"/>
            </a:lvl1pPr>
          </a:lstStyle>
          <a:p>
            <a:fld id="{FF899423-EDC2-457D-B42B-E8AC52DB47D2}"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115013000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4820"/>
          </a:xfrm>
          <a:prstGeom prst="rect">
            <a:avLst/>
          </a:prstGeom>
        </p:spPr>
        <p:txBody>
          <a:bodyPr vert="horz" lIns="91440" tIns="45720" rIns="91440" bIns="45720" rtlCol="0"/>
          <a:lstStyle>
            <a:lvl1pPr algn="l">
              <a:defRPr sz="1200">
                <a:latin typeface="Segoe UI" pitchFamily="34" charset="0"/>
              </a:defRPr>
            </a:lvl1pPr>
          </a:lstStyle>
          <a:p>
            <a:r>
              <a:rPr lang="en-US" dirty="0" smtClean="0"/>
              <a:t>Windows Azure Overview</a:t>
            </a:r>
            <a:endParaRPr lang="en-US" dirty="0"/>
          </a:p>
        </p:txBody>
      </p:sp>
      <p:sp>
        <p:nvSpPr>
          <p:cNvPr id="3" name="Date Placeholder 2"/>
          <p:cNvSpPr>
            <a:spLocks noGrp="1"/>
          </p:cNvSpPr>
          <p:nvPr>
            <p:ph type="dt" idx="1"/>
          </p:nvPr>
        </p:nvSpPr>
        <p:spPr>
          <a:xfrm>
            <a:off x="3884613" y="0"/>
            <a:ext cx="2971800" cy="464820"/>
          </a:xfrm>
          <a:prstGeom prst="rect">
            <a:avLst/>
          </a:prstGeom>
        </p:spPr>
        <p:txBody>
          <a:bodyPr vert="horz" lIns="91440" tIns="45720" rIns="91440" bIns="45720" rtlCol="0"/>
          <a:lstStyle>
            <a:lvl1pPr algn="r">
              <a:defRPr sz="1200">
                <a:latin typeface="Segoe UI" pitchFamily="34" charset="0"/>
              </a:defRPr>
            </a:lvl1pPr>
          </a:lstStyle>
          <a:p>
            <a:fld id="{CAE3F082-F902-42D8-A765-720E172C3194}" type="datetimeFigureOut">
              <a:rPr lang="en-US" smtClean="0"/>
              <a:pPr/>
              <a:t>5/2/2012</a:t>
            </a:fld>
            <a:endParaRPr lang="en-US" dirty="0"/>
          </a:p>
        </p:txBody>
      </p:sp>
      <p:sp>
        <p:nvSpPr>
          <p:cNvPr id="4" name="Slide Image Placeholder 3"/>
          <p:cNvSpPr>
            <a:spLocks noGrp="1" noRot="1" noChangeAspect="1"/>
          </p:cNvSpPr>
          <p:nvPr>
            <p:ph type="sldImg" idx="2"/>
          </p:nvPr>
        </p:nvSpPr>
        <p:spPr>
          <a:xfrm>
            <a:off x="331788" y="696913"/>
            <a:ext cx="6194425" cy="348615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15790"/>
            <a:ext cx="5486400" cy="4183380"/>
          </a:xfrm>
          <a:prstGeom prst="rect">
            <a:avLst/>
          </a:prstGeom>
        </p:spPr>
        <p:txBody>
          <a:bodyPr vert="horz" lIns="91440" tIns="45720" rIns="91440" bIns="45720" rtlCol="0"/>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829967"/>
            <a:ext cx="2971800" cy="464820"/>
          </a:xfrm>
          <a:prstGeom prst="rect">
            <a:avLst/>
          </a:prstGeom>
        </p:spPr>
        <p:txBody>
          <a:bodyPr vert="horz" lIns="91440" tIns="45720" rIns="91440" bIns="45720" rtlCol="0" anchor="b"/>
          <a:lstStyle>
            <a:lvl1pPr algn="l">
              <a:defRPr sz="1200">
                <a:latin typeface="Segoe UI" pitchFamily="34" charset="0"/>
              </a:defRPr>
            </a:lvl1pPr>
          </a:lstStyle>
          <a:p>
            <a:endParaRPr lang="en-US" dirty="0"/>
          </a:p>
        </p:txBody>
      </p:sp>
      <p:sp>
        <p:nvSpPr>
          <p:cNvPr id="7" name="Slide Number Placeholder 6"/>
          <p:cNvSpPr>
            <a:spLocks noGrp="1"/>
          </p:cNvSpPr>
          <p:nvPr>
            <p:ph type="sldNum" sz="quarter" idx="5"/>
          </p:nvPr>
        </p:nvSpPr>
        <p:spPr>
          <a:xfrm>
            <a:off x="3884613" y="8829967"/>
            <a:ext cx="2971800" cy="464820"/>
          </a:xfrm>
          <a:prstGeom prst="rect">
            <a:avLst/>
          </a:prstGeom>
        </p:spPr>
        <p:txBody>
          <a:bodyPr vert="horz" lIns="91440" tIns="45720" rIns="91440" bIns="45720" rtlCol="0" anchor="b"/>
          <a:lstStyle>
            <a:lvl1pPr algn="r">
              <a:defRPr sz="1200">
                <a:latin typeface="Segoe UI" pitchFamily="34" charset="0"/>
              </a:defRPr>
            </a:lvl1pPr>
          </a:lstStyle>
          <a:p>
            <a:fld id="{82AABF77-E2E4-44CA-BA5C-65E132CF08D8}" type="slidenum">
              <a:rPr lang="en-US" smtClean="0"/>
              <a:pPr/>
              <a:t>‹#›</a:t>
            </a:fld>
            <a:endParaRPr lang="en-US" dirty="0"/>
          </a:p>
        </p:txBody>
      </p:sp>
    </p:spTree>
    <p:extLst>
      <p:ext uri="{BB962C8B-B14F-4D97-AF65-F5344CB8AC3E}">
        <p14:creationId xmlns:p14="http://schemas.microsoft.com/office/powerpoint/2010/main" val="1716936007"/>
      </p:ext>
    </p:extLst>
  </p:cSld>
  <p:clrMap bg1="lt1" tx1="dk1" bg2="lt2" tx2="dk2" accent1="accent1" accent2="accent2" accent3="accent3" accent4="accent4" accent5="accent5" accent6="accent6" hlink="hlink" folHlink="folHlink"/>
  <p:notesStyle>
    <a:lvl1pPr marL="0" algn="l" defTabSz="1218987" rtl="0" eaLnBrk="1" latinLnBrk="0" hangingPunct="1">
      <a:defRPr sz="1600" kern="1200">
        <a:solidFill>
          <a:schemeClr val="tx1"/>
        </a:solidFill>
        <a:latin typeface="Segoe UI" pitchFamily="34" charset="0"/>
        <a:ea typeface="+mn-ea"/>
        <a:cs typeface="+mn-cs"/>
      </a:defRPr>
    </a:lvl1pPr>
    <a:lvl2pPr marL="609493" algn="l" defTabSz="1218987" rtl="0" eaLnBrk="1" latinLnBrk="0" hangingPunct="1">
      <a:defRPr sz="1600" kern="1200">
        <a:solidFill>
          <a:schemeClr val="tx1"/>
        </a:solidFill>
        <a:latin typeface="Segoe UI" pitchFamily="34" charset="0"/>
        <a:ea typeface="+mn-ea"/>
        <a:cs typeface="+mn-cs"/>
      </a:defRPr>
    </a:lvl2pPr>
    <a:lvl3pPr marL="1218987" algn="l" defTabSz="1218987" rtl="0" eaLnBrk="1" latinLnBrk="0" hangingPunct="1">
      <a:defRPr sz="1600" kern="1200">
        <a:solidFill>
          <a:schemeClr val="tx1"/>
        </a:solidFill>
        <a:latin typeface="Segoe UI" pitchFamily="34" charset="0"/>
        <a:ea typeface="+mn-ea"/>
        <a:cs typeface="+mn-cs"/>
      </a:defRPr>
    </a:lvl3pPr>
    <a:lvl4pPr marL="1828480" algn="l" defTabSz="1218987" rtl="0" eaLnBrk="1" latinLnBrk="0" hangingPunct="1">
      <a:defRPr sz="1600" kern="1200">
        <a:solidFill>
          <a:schemeClr val="tx1"/>
        </a:solidFill>
        <a:latin typeface="Segoe UI" pitchFamily="34" charset="0"/>
        <a:ea typeface="+mn-ea"/>
        <a:cs typeface="+mn-cs"/>
      </a:defRPr>
    </a:lvl4pPr>
    <a:lvl5pPr marL="2437973" algn="l" defTabSz="1218987" rtl="0" eaLnBrk="1" latinLnBrk="0" hangingPunct="1">
      <a:defRPr sz="1600" kern="1200">
        <a:solidFill>
          <a:schemeClr val="tx1"/>
        </a:solidFill>
        <a:latin typeface="Segoe UI" pitchFamily="34" charset="0"/>
        <a:ea typeface="+mn-ea"/>
        <a:cs typeface="+mn-cs"/>
      </a:defRPr>
    </a:lvl5pPr>
    <a:lvl6pPr marL="3047467" algn="l" defTabSz="1218987" rtl="0" eaLnBrk="1" latinLnBrk="0" hangingPunct="1">
      <a:defRPr sz="1600" kern="1200">
        <a:solidFill>
          <a:schemeClr val="tx1"/>
        </a:solidFill>
        <a:latin typeface="+mn-lt"/>
        <a:ea typeface="+mn-ea"/>
        <a:cs typeface="+mn-cs"/>
      </a:defRPr>
    </a:lvl6pPr>
    <a:lvl7pPr marL="3656960" algn="l" defTabSz="1218987" rtl="0" eaLnBrk="1" latinLnBrk="0" hangingPunct="1">
      <a:defRPr sz="1600" kern="1200">
        <a:solidFill>
          <a:schemeClr val="tx1"/>
        </a:solidFill>
        <a:latin typeface="+mn-lt"/>
        <a:ea typeface="+mn-ea"/>
        <a:cs typeface="+mn-cs"/>
      </a:defRPr>
    </a:lvl7pPr>
    <a:lvl8pPr marL="4266453" algn="l" defTabSz="1218987" rtl="0" eaLnBrk="1" latinLnBrk="0" hangingPunct="1">
      <a:defRPr sz="1600" kern="1200">
        <a:solidFill>
          <a:schemeClr val="tx1"/>
        </a:solidFill>
        <a:latin typeface="+mn-lt"/>
        <a:ea typeface="+mn-ea"/>
        <a:cs typeface="+mn-cs"/>
      </a:defRPr>
    </a:lvl8pPr>
    <a:lvl9pPr marL="4875947" algn="l" defTabSz="1218987"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2</a:t>
            </a:fld>
            <a:endParaRPr lang="en-US" dirty="0"/>
          </a:p>
        </p:txBody>
      </p:sp>
    </p:spTree>
    <p:extLst>
      <p:ext uri="{BB962C8B-B14F-4D97-AF65-F5344CB8AC3E}">
        <p14:creationId xmlns:p14="http://schemas.microsoft.com/office/powerpoint/2010/main" val="125873448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t>11</a:t>
            </a:fld>
            <a:endParaRPr lang="en-US" dirty="0"/>
          </a:p>
        </p:txBody>
      </p:sp>
    </p:spTree>
    <p:extLst>
      <p:ext uri="{BB962C8B-B14F-4D97-AF65-F5344CB8AC3E}">
        <p14:creationId xmlns:p14="http://schemas.microsoft.com/office/powerpoint/2010/main" val="93249248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3</a:t>
            </a:fld>
            <a:endParaRPr lang="en-US" dirty="0"/>
          </a:p>
        </p:txBody>
      </p:sp>
    </p:spTree>
    <p:extLst>
      <p:ext uri="{BB962C8B-B14F-4D97-AF65-F5344CB8AC3E}">
        <p14:creationId xmlns:p14="http://schemas.microsoft.com/office/powerpoint/2010/main" val="49133496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4</a:t>
            </a:fld>
            <a:endParaRPr lang="en-US" dirty="0"/>
          </a:p>
        </p:txBody>
      </p:sp>
    </p:spTree>
    <p:extLst>
      <p:ext uri="{BB962C8B-B14F-4D97-AF65-F5344CB8AC3E}">
        <p14:creationId xmlns:p14="http://schemas.microsoft.com/office/powerpoint/2010/main" val="111662229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5</a:t>
            </a:fld>
            <a:endParaRPr lang="en-US" dirty="0"/>
          </a:p>
        </p:txBody>
      </p:sp>
    </p:spTree>
    <p:extLst>
      <p:ext uri="{BB962C8B-B14F-4D97-AF65-F5344CB8AC3E}">
        <p14:creationId xmlns:p14="http://schemas.microsoft.com/office/powerpoint/2010/main" val="111662229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6</a:t>
            </a:fld>
            <a:endParaRPr lang="en-US" dirty="0"/>
          </a:p>
        </p:txBody>
      </p:sp>
    </p:spTree>
    <p:extLst>
      <p:ext uri="{BB962C8B-B14F-4D97-AF65-F5344CB8AC3E}">
        <p14:creationId xmlns:p14="http://schemas.microsoft.com/office/powerpoint/2010/main" val="111662229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7</a:t>
            </a:fld>
            <a:endParaRPr lang="en-US" dirty="0"/>
          </a:p>
        </p:txBody>
      </p:sp>
    </p:spTree>
    <p:extLst>
      <p:ext uri="{BB962C8B-B14F-4D97-AF65-F5344CB8AC3E}">
        <p14:creationId xmlns:p14="http://schemas.microsoft.com/office/powerpoint/2010/main" val="111662229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8</a:t>
            </a:fld>
            <a:endParaRPr lang="en-US" dirty="0"/>
          </a:p>
        </p:txBody>
      </p:sp>
    </p:spTree>
    <p:extLst>
      <p:ext uri="{BB962C8B-B14F-4D97-AF65-F5344CB8AC3E}">
        <p14:creationId xmlns:p14="http://schemas.microsoft.com/office/powerpoint/2010/main" val="111662229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9</a:t>
            </a:fld>
            <a:endParaRPr lang="en-US" dirty="0"/>
          </a:p>
        </p:txBody>
      </p:sp>
    </p:spTree>
    <p:extLst>
      <p:ext uri="{BB962C8B-B14F-4D97-AF65-F5344CB8AC3E}">
        <p14:creationId xmlns:p14="http://schemas.microsoft.com/office/powerpoint/2010/main" val="111662229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AABF77-E2E4-44CA-BA5C-65E132CF08D8}" type="slidenum">
              <a:rPr lang="en-US" smtClean="0"/>
              <a:pPr/>
              <a:t>10</a:t>
            </a:fld>
            <a:endParaRPr lang="en-US" dirty="0"/>
          </a:p>
        </p:txBody>
      </p:sp>
    </p:spTree>
    <p:extLst>
      <p:ext uri="{BB962C8B-B14F-4D97-AF65-F5344CB8AC3E}">
        <p14:creationId xmlns:p14="http://schemas.microsoft.com/office/powerpoint/2010/main" val="379004896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3" y="2234114"/>
            <a:ext cx="8373521"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13" y="4612341"/>
            <a:ext cx="5454333"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grpSp>
        <p:nvGrpSpPr>
          <p:cNvPr id="5" name="Group 4"/>
          <p:cNvGrpSpPr/>
          <p:nvPr userDrawn="1"/>
        </p:nvGrpSpPr>
        <p:grpSpPr>
          <a:xfrm>
            <a:off x="519113" y="241940"/>
            <a:ext cx="2411374" cy="387798"/>
            <a:chOff x="517525" y="5956427"/>
            <a:chExt cx="1489796" cy="775597"/>
          </a:xfrm>
        </p:grpSpPr>
        <p:sp>
          <p:nvSpPr>
            <p:cNvPr id="6" name="TextBox 5"/>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8" name="Rectangle 7"/>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2163483488"/>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1953" y="2008094"/>
            <a:ext cx="2269077"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821308525"/>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4572" y="2242931"/>
            <a:ext cx="3176914"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2433982393"/>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3609" y="1932604"/>
            <a:ext cx="3013332"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576417092"/>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2758" y="1905000"/>
            <a:ext cx="1277596"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861767610"/>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1_Section Divider">
    <p:bg>
      <p:bgPr>
        <a:blipFill dpi="0" rotWithShape="1">
          <a:blip r:embed="rId2">
            <a:lum/>
          </a:blip>
          <a:srcRect/>
          <a:tile tx="0" ty="0" sx="100000" sy="100000" flip="none" algn="tl"/>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0"/>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grpSp>
        <p:nvGrpSpPr>
          <p:cNvPr id="4" name="Group 3"/>
          <p:cNvGrpSpPr/>
          <p:nvPr userDrawn="1"/>
        </p:nvGrpSpPr>
        <p:grpSpPr>
          <a:xfrm>
            <a:off x="9264689" y="6225727"/>
            <a:ext cx="2411374" cy="387798"/>
            <a:chOff x="517525" y="5956427"/>
            <a:chExt cx="1489796" cy="775597"/>
          </a:xfrm>
        </p:grpSpPr>
        <p:sp>
          <p:nvSpPr>
            <p:cNvPr id="5" name="TextBox 4"/>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6" name="Rectangle 5"/>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3900536183"/>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blank" preserve="1">
  <p:cSld name="Branding">
    <p:bg>
      <p:bgPr>
        <a:blipFill dpi="0" rotWithShape="1">
          <a:blip r:embed="rId2">
            <a:lum/>
          </a:blip>
          <a:srcRect/>
          <a:tile tx="0" ty="0" sx="100000" sy="100000" flip="none" algn="tl"/>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1174" y="3140274"/>
            <a:ext cx="3546476" cy="577452"/>
          </a:xfrm>
          <a:prstGeom prst="rect">
            <a:avLst/>
          </a:prstGeom>
          <a:noFill/>
          <a:ln>
            <a:noFill/>
          </a:ln>
        </p:spPr>
      </p:pic>
      <p:sp>
        <p:nvSpPr>
          <p:cNvPr id="3" name="Text Box 3"/>
          <p:cNvSpPr txBox="1">
            <a:spLocks noChangeArrowheads="1"/>
          </p:cNvSpPr>
          <p:nvPr userDrawn="1"/>
        </p:nvSpPr>
        <p:spPr bwMode="blackWhite">
          <a:xfrm>
            <a:off x="507868" y="6083573"/>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chemeClr val="bg1">
                    <a:alpha val="99000"/>
                  </a:schemeClr>
                </a:solidFill>
                <a:latin typeface="Segoe UI" pitchFamily="34" charset="0"/>
                <a:cs typeface="Arial" charset="0"/>
              </a:rPr>
              <a:t>© </a:t>
            </a:r>
            <a:r>
              <a:rPr lang="en-US" sz="700" dirty="0" smtClean="0">
                <a:solidFill>
                  <a:schemeClr val="bg1">
                    <a:alpha val="99000"/>
                  </a:schemeClr>
                </a:solidFill>
                <a:latin typeface="Segoe UI" pitchFamily="34" charset="0"/>
                <a:cs typeface="Arial" charset="0"/>
              </a:rPr>
              <a:t>2012 Microsoft </a:t>
            </a:r>
            <a:r>
              <a:rPr lang="en-US" sz="700" dirty="0">
                <a:solidFill>
                  <a:schemeClr val="bg1">
                    <a:alpha val="99000"/>
                  </a:schemeClr>
                </a:solidFill>
                <a:latin typeface="Segoe UI" pitchFamily="34" charset="0"/>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chemeClr val="bg1">
                    <a:alpha val="99000"/>
                  </a:schemeClr>
                </a:solidFill>
                <a:latin typeface="Segoe UI" pitchFamily="34" charset="0"/>
                <a:cs typeface="Arial" charset="0"/>
              </a:rPr>
              <a:t>MICROSOFT </a:t>
            </a:r>
            <a:r>
              <a:rPr lang="en-US" sz="700" dirty="0">
                <a:solidFill>
                  <a:schemeClr val="bg1">
                    <a:alpha val="99000"/>
                  </a:schemeClr>
                </a:solidFill>
                <a:latin typeface="Segoe UI" pitchFamily="34" charset="0"/>
                <a:cs typeface="Arial" charset="0"/>
              </a:rPr>
              <a:t>MAKES NO WARRANTIES, EXPRESS, IMPLIED OR STATUTORY, AS TO THE INFORMATION IN THIS PRESENTATION.</a:t>
            </a:r>
          </a:p>
        </p:txBody>
      </p:sp>
    </p:spTree>
    <p:extLst>
      <p:ext uri="{BB962C8B-B14F-4D97-AF65-F5344CB8AC3E}">
        <p14:creationId xmlns:p14="http://schemas.microsoft.com/office/powerpoint/2010/main" val="2549922664"/>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764" y="2892710"/>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763" y="4343400"/>
            <a:ext cx="7513637"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6"/>
          </a:xfrm>
          <a:prstGeom prst="rect">
            <a:avLst/>
          </a:prstGeom>
          <a:noFill/>
          <a:ln>
            <a:noFill/>
          </a:ln>
        </p:spPr>
      </p:pic>
      <p:grpSp>
        <p:nvGrpSpPr>
          <p:cNvPr id="6" name="Group 5"/>
          <p:cNvGrpSpPr/>
          <p:nvPr userDrawn="1"/>
        </p:nvGrpSpPr>
        <p:grpSpPr>
          <a:xfrm>
            <a:off x="519113" y="241940"/>
            <a:ext cx="2411374" cy="387798"/>
            <a:chOff x="517525" y="5956427"/>
            <a:chExt cx="1489796" cy="775597"/>
          </a:xfrm>
        </p:grpSpPr>
        <p:sp>
          <p:nvSpPr>
            <p:cNvPr id="8" name="TextBox 7"/>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9" name="Rectangle 8"/>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3517780638"/>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73929649"/>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6"/>
            <a:ext cx="12188826"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2896729"/>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519114" y="1905000"/>
            <a:ext cx="11149012" cy="1618905"/>
          </a:xfrm>
        </p:spPr>
        <p:txBody>
          <a:bodyPr/>
          <a:lstStyle>
            <a:lvl1pPr>
              <a:lnSpc>
                <a:spcPct val="90000"/>
              </a:lnSpc>
              <a:defRPr sz="2400"/>
            </a:lvl1pPr>
            <a:lvl2pPr>
              <a:lnSpc>
                <a:spcPct val="90000"/>
              </a:lnSpc>
              <a:defRPr sz="2000"/>
            </a:lvl2pPr>
            <a:lvl3pPr>
              <a:lnSpc>
                <a:spcPct val="90000"/>
              </a:lnSpc>
              <a:defRPr sz="1800"/>
            </a:lvl3pPr>
            <a:lvl4pPr>
              <a:lnSpc>
                <a:spcPct val="90000"/>
              </a:lnSpc>
              <a:defRPr sz="1800"/>
            </a:lvl4pPr>
            <a:lvl5pPr>
              <a:lnSpc>
                <a:spcPct val="90000"/>
              </a:lnSpc>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078997337"/>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505028237"/>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spTree>
    <p:extLst>
      <p:ext uri="{BB962C8B-B14F-4D97-AF65-F5344CB8AC3E}">
        <p14:creationId xmlns:p14="http://schemas.microsoft.com/office/powerpoint/2010/main" val="3006485161"/>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spTree>
    <p:extLst>
      <p:ext uri="{BB962C8B-B14F-4D97-AF65-F5344CB8AC3E}">
        <p14:creationId xmlns:p14="http://schemas.microsoft.com/office/powerpoint/2010/main" val="976391211"/>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7" y="2266796"/>
            <a:ext cx="5484971"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6"/>
            <a:ext cx="5486400"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spTree>
    <p:extLst>
      <p:ext uri="{BB962C8B-B14F-4D97-AF65-F5344CB8AC3E}">
        <p14:creationId xmlns:p14="http://schemas.microsoft.com/office/powerpoint/2010/main" val="3597595036"/>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Tree>
    <p:extLst>
      <p:ext uri="{BB962C8B-B14F-4D97-AF65-F5344CB8AC3E}">
        <p14:creationId xmlns:p14="http://schemas.microsoft.com/office/powerpoint/2010/main" val="1833870189"/>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230898258"/>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48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dirty="0" smtClean="0"/>
              <a:t>Click to edit Master title style</a:t>
            </a:r>
            <a:endParaRPr lang="en-US" dirty="0"/>
          </a:p>
        </p:txBody>
      </p:sp>
      <p:sp>
        <p:nvSpPr>
          <p:cNvPr id="5" name="Text Placeholder 4"/>
          <p:cNvSpPr>
            <a:spLocks noGrp="1"/>
          </p:cNvSpPr>
          <p:nvPr>
            <p:ph type="body" sz="quarter" idx="11"/>
          </p:nvPr>
        </p:nvSpPr>
        <p:spPr>
          <a:xfrm>
            <a:off x="3473804" y="3417661"/>
            <a:ext cx="6945312"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6" name="Freeform 11"/>
          <p:cNvSpPr>
            <a:spLocks noEditPoints="1"/>
          </p:cNvSpPr>
          <p:nvPr userDrawn="1"/>
        </p:nvSpPr>
        <p:spPr bwMode="black">
          <a:xfrm>
            <a:off x="906082" y="2883795"/>
            <a:ext cx="2453963" cy="2309611"/>
          </a:xfrm>
          <a:custGeom>
            <a:avLst/>
            <a:gdLst>
              <a:gd name="T0" fmla="*/ 1137 w 1313"/>
              <a:gd name="T1" fmla="*/ 396 h 1238"/>
              <a:gd name="T2" fmla="*/ 1185 w 1313"/>
              <a:gd name="T3" fmla="*/ 553 h 1238"/>
              <a:gd name="T4" fmla="*/ 1069 w 1313"/>
              <a:gd name="T5" fmla="*/ 567 h 1238"/>
              <a:gd name="T6" fmla="*/ 960 w 1313"/>
              <a:gd name="T7" fmla="*/ 445 h 1238"/>
              <a:gd name="T8" fmla="*/ 960 w 1313"/>
              <a:gd name="T9" fmla="*/ 284 h 1238"/>
              <a:gd name="T10" fmla="*/ 1144 w 1313"/>
              <a:gd name="T11" fmla="*/ 219 h 1238"/>
              <a:gd name="T12" fmla="*/ 1245 w 1313"/>
              <a:gd name="T13" fmla="*/ 346 h 1238"/>
              <a:gd name="T14" fmla="*/ 1258 w 1313"/>
              <a:gd name="T15" fmla="*/ 463 h 1238"/>
              <a:gd name="T16" fmla="*/ 1198 w 1313"/>
              <a:gd name="T17" fmla="*/ 341 h 1238"/>
              <a:gd name="T18" fmla="*/ 800 w 1313"/>
              <a:gd name="T19" fmla="*/ 175 h 1238"/>
              <a:gd name="T20" fmla="*/ 834 w 1313"/>
              <a:gd name="T21" fmla="*/ 405 h 1238"/>
              <a:gd name="T22" fmla="*/ 659 w 1313"/>
              <a:gd name="T23" fmla="*/ 320 h 1238"/>
              <a:gd name="T24" fmla="*/ 677 w 1313"/>
              <a:gd name="T25" fmla="*/ 159 h 1238"/>
              <a:gd name="T26" fmla="*/ 798 w 1313"/>
              <a:gd name="T27" fmla="*/ 52 h 1238"/>
              <a:gd name="T28" fmla="*/ 958 w 1313"/>
              <a:gd name="T29" fmla="*/ 52 h 1238"/>
              <a:gd name="T30" fmla="*/ 1024 w 1313"/>
              <a:gd name="T31" fmla="*/ 236 h 1238"/>
              <a:gd name="T32" fmla="*/ 941 w 1313"/>
              <a:gd name="T33" fmla="*/ 366 h 1238"/>
              <a:gd name="T34" fmla="*/ 912 w 1313"/>
              <a:gd name="T35" fmla="*/ 123 h 1238"/>
              <a:gd name="T36" fmla="*/ 0 w 1313"/>
              <a:gd name="T37" fmla="*/ 451 h 1238"/>
              <a:gd name="T38" fmla="*/ 179 w 1313"/>
              <a:gd name="T39" fmla="*/ 451 h 1238"/>
              <a:gd name="T40" fmla="*/ 264 w 1313"/>
              <a:gd name="T41" fmla="*/ 451 h 1238"/>
              <a:gd name="T42" fmla="*/ 349 w 1313"/>
              <a:gd name="T43" fmla="*/ 451 h 1238"/>
              <a:gd name="T44" fmla="*/ 434 w 1313"/>
              <a:gd name="T45" fmla="*/ 451 h 1238"/>
              <a:gd name="T46" fmla="*/ 519 w 1313"/>
              <a:gd name="T47" fmla="*/ 451 h 1238"/>
              <a:gd name="T48" fmla="*/ 604 w 1313"/>
              <a:gd name="T49" fmla="*/ 451 h 1238"/>
              <a:gd name="T50" fmla="*/ 690 w 1313"/>
              <a:gd name="T51" fmla="*/ 451 h 1238"/>
              <a:gd name="T52" fmla="*/ 775 w 1313"/>
              <a:gd name="T53" fmla="*/ 451 h 1238"/>
              <a:gd name="T54" fmla="*/ 682 w 1313"/>
              <a:gd name="T55" fmla="*/ 949 h 1238"/>
              <a:gd name="T56" fmla="*/ 703 w 1313"/>
              <a:gd name="T57" fmla="*/ 1069 h 1238"/>
              <a:gd name="T58" fmla="*/ 377 w 1313"/>
              <a:gd name="T59" fmla="*/ 1196 h 1238"/>
              <a:gd name="T60" fmla="*/ 357 w 1313"/>
              <a:gd name="T61" fmla="*/ 1090 h 1238"/>
              <a:gd name="T62" fmla="*/ 540 w 1313"/>
              <a:gd name="T63" fmla="*/ 1196 h 1238"/>
              <a:gd name="T64" fmla="*/ 519 w 1313"/>
              <a:gd name="T65" fmla="*/ 949 h 1238"/>
              <a:gd name="T66" fmla="*/ 357 w 1313"/>
              <a:gd name="T67" fmla="*/ 949 h 1238"/>
              <a:gd name="T68" fmla="*/ 194 w 1313"/>
              <a:gd name="T69" fmla="*/ 949 h 1238"/>
              <a:gd name="T70" fmla="*/ 52 w 1313"/>
              <a:gd name="T71" fmla="*/ 1090 h 1238"/>
              <a:gd name="T72" fmla="*/ 845 w 1313"/>
              <a:gd name="T73" fmla="*/ 1196 h 1238"/>
              <a:gd name="T74" fmla="*/ 845 w 1313"/>
              <a:gd name="T75" fmla="*/ 808 h 1238"/>
              <a:gd name="T76" fmla="*/ 682 w 1313"/>
              <a:gd name="T77" fmla="*/ 808 h 1238"/>
              <a:gd name="T78" fmla="*/ 519 w 1313"/>
              <a:gd name="T79" fmla="*/ 808 h 1238"/>
              <a:gd name="T80" fmla="*/ 357 w 1313"/>
              <a:gd name="T81" fmla="*/ 808 h 1238"/>
              <a:gd name="T82" fmla="*/ 194 w 1313"/>
              <a:gd name="T83" fmla="*/ 808 h 1238"/>
              <a:gd name="T84" fmla="*/ 845 w 1313"/>
              <a:gd name="T85" fmla="*/ 668 h 1238"/>
              <a:gd name="T86" fmla="*/ 682 w 1313"/>
              <a:gd name="T87" fmla="*/ 668 h 1238"/>
              <a:gd name="T88" fmla="*/ 519 w 1313"/>
              <a:gd name="T89" fmla="*/ 668 h 1238"/>
              <a:gd name="T90" fmla="*/ 357 w 1313"/>
              <a:gd name="T91" fmla="*/ 668 h 1238"/>
              <a:gd name="T92" fmla="*/ 194 w 1313"/>
              <a:gd name="T93" fmla="*/ 668 h 1238"/>
              <a:gd name="T94" fmla="*/ 718 w 1313"/>
              <a:gd name="T95" fmla="*/ 493 h 1238"/>
              <a:gd name="T96" fmla="*/ 633 w 1313"/>
              <a:gd name="T97" fmla="*/ 493 h 1238"/>
              <a:gd name="T98" fmla="*/ 548 w 1313"/>
              <a:gd name="T99" fmla="*/ 493 h 1238"/>
              <a:gd name="T100" fmla="*/ 463 w 1313"/>
              <a:gd name="T101" fmla="*/ 493 h 1238"/>
              <a:gd name="T102" fmla="*/ 378 w 1313"/>
              <a:gd name="T103" fmla="*/ 493 h 1238"/>
              <a:gd name="T104" fmla="*/ 292 w 1313"/>
              <a:gd name="T105" fmla="*/ 493 h 1238"/>
              <a:gd name="T106" fmla="*/ 207 w 1313"/>
              <a:gd name="T107" fmla="*/ 493 h 1238"/>
              <a:gd name="T108" fmla="*/ 122 w 1313"/>
              <a:gd name="T109" fmla="*/ 493 h 1238"/>
              <a:gd name="T110" fmla="*/ 775 w 1313"/>
              <a:gd name="T111" fmla="*/ 493 h 1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13" h="1238">
                <a:moveTo>
                  <a:pt x="1137" y="396"/>
                </a:moveTo>
                <a:cubicBezTo>
                  <a:pt x="1150" y="411"/>
                  <a:pt x="1150" y="433"/>
                  <a:pt x="1136" y="447"/>
                </a:cubicBezTo>
                <a:cubicBezTo>
                  <a:pt x="1120" y="461"/>
                  <a:pt x="1097" y="459"/>
                  <a:pt x="1084" y="444"/>
                </a:cubicBezTo>
                <a:cubicBezTo>
                  <a:pt x="1071" y="429"/>
                  <a:pt x="1071" y="407"/>
                  <a:pt x="1087" y="393"/>
                </a:cubicBezTo>
                <a:cubicBezTo>
                  <a:pt x="1102" y="379"/>
                  <a:pt x="1124" y="382"/>
                  <a:pt x="1137" y="396"/>
                </a:cubicBezTo>
                <a:close/>
                <a:moveTo>
                  <a:pt x="1258" y="463"/>
                </a:moveTo>
                <a:cubicBezTo>
                  <a:pt x="1255" y="475"/>
                  <a:pt x="1246" y="494"/>
                  <a:pt x="1234" y="509"/>
                </a:cubicBezTo>
                <a:cubicBezTo>
                  <a:pt x="1260" y="555"/>
                  <a:pt x="1260" y="555"/>
                  <a:pt x="1260" y="555"/>
                </a:cubicBezTo>
                <a:cubicBezTo>
                  <a:pt x="1254" y="560"/>
                  <a:pt x="1228" y="584"/>
                  <a:pt x="1228" y="584"/>
                </a:cubicBezTo>
                <a:cubicBezTo>
                  <a:pt x="1185" y="553"/>
                  <a:pt x="1185" y="553"/>
                  <a:pt x="1185" y="553"/>
                </a:cubicBezTo>
                <a:cubicBezTo>
                  <a:pt x="1184" y="555"/>
                  <a:pt x="1184" y="555"/>
                  <a:pt x="1184" y="555"/>
                </a:cubicBezTo>
                <a:cubicBezTo>
                  <a:pt x="1174" y="561"/>
                  <a:pt x="1154" y="568"/>
                  <a:pt x="1136" y="571"/>
                </a:cubicBezTo>
                <a:cubicBezTo>
                  <a:pt x="1121" y="623"/>
                  <a:pt x="1121" y="623"/>
                  <a:pt x="1121" y="623"/>
                </a:cubicBezTo>
                <a:cubicBezTo>
                  <a:pt x="1113" y="621"/>
                  <a:pt x="1078" y="619"/>
                  <a:pt x="1078" y="619"/>
                </a:cubicBezTo>
                <a:cubicBezTo>
                  <a:pt x="1069" y="567"/>
                  <a:pt x="1069" y="567"/>
                  <a:pt x="1069" y="567"/>
                </a:cubicBezTo>
                <a:cubicBezTo>
                  <a:pt x="1057" y="564"/>
                  <a:pt x="1036" y="556"/>
                  <a:pt x="1022" y="545"/>
                </a:cubicBezTo>
                <a:cubicBezTo>
                  <a:pt x="975" y="570"/>
                  <a:pt x="975" y="570"/>
                  <a:pt x="975" y="570"/>
                </a:cubicBezTo>
                <a:cubicBezTo>
                  <a:pt x="970" y="565"/>
                  <a:pt x="946" y="538"/>
                  <a:pt x="946" y="538"/>
                </a:cubicBezTo>
                <a:cubicBezTo>
                  <a:pt x="976" y="495"/>
                  <a:pt x="976" y="495"/>
                  <a:pt x="976" y="495"/>
                </a:cubicBezTo>
                <a:cubicBezTo>
                  <a:pt x="971" y="484"/>
                  <a:pt x="961" y="464"/>
                  <a:pt x="960" y="445"/>
                </a:cubicBezTo>
                <a:cubicBezTo>
                  <a:pt x="909" y="430"/>
                  <a:pt x="909" y="430"/>
                  <a:pt x="909" y="430"/>
                </a:cubicBezTo>
                <a:cubicBezTo>
                  <a:pt x="908" y="422"/>
                  <a:pt x="910" y="387"/>
                  <a:pt x="910" y="387"/>
                </a:cubicBezTo>
                <a:cubicBezTo>
                  <a:pt x="963" y="377"/>
                  <a:pt x="963" y="377"/>
                  <a:pt x="963" y="377"/>
                </a:cubicBezTo>
                <a:cubicBezTo>
                  <a:pt x="971" y="350"/>
                  <a:pt x="972" y="349"/>
                  <a:pt x="986" y="330"/>
                </a:cubicBezTo>
                <a:cubicBezTo>
                  <a:pt x="960" y="284"/>
                  <a:pt x="960" y="284"/>
                  <a:pt x="960" y="284"/>
                </a:cubicBezTo>
                <a:cubicBezTo>
                  <a:pt x="966" y="279"/>
                  <a:pt x="992" y="255"/>
                  <a:pt x="992" y="255"/>
                </a:cubicBezTo>
                <a:cubicBezTo>
                  <a:pt x="1036" y="285"/>
                  <a:pt x="1036" y="285"/>
                  <a:pt x="1036" y="285"/>
                </a:cubicBezTo>
                <a:cubicBezTo>
                  <a:pt x="1047" y="279"/>
                  <a:pt x="1066" y="271"/>
                  <a:pt x="1085" y="270"/>
                </a:cubicBezTo>
                <a:cubicBezTo>
                  <a:pt x="1100" y="218"/>
                  <a:pt x="1100" y="218"/>
                  <a:pt x="1100" y="218"/>
                </a:cubicBezTo>
                <a:cubicBezTo>
                  <a:pt x="1107" y="218"/>
                  <a:pt x="1144" y="219"/>
                  <a:pt x="1144" y="219"/>
                </a:cubicBezTo>
                <a:cubicBezTo>
                  <a:pt x="1153" y="273"/>
                  <a:pt x="1153" y="273"/>
                  <a:pt x="1153" y="273"/>
                </a:cubicBezTo>
                <a:cubicBezTo>
                  <a:pt x="1180" y="281"/>
                  <a:pt x="1182" y="280"/>
                  <a:pt x="1199" y="295"/>
                </a:cubicBezTo>
                <a:cubicBezTo>
                  <a:pt x="1245" y="270"/>
                  <a:pt x="1245" y="270"/>
                  <a:pt x="1245" y="270"/>
                </a:cubicBezTo>
                <a:cubicBezTo>
                  <a:pt x="1251" y="276"/>
                  <a:pt x="1274" y="301"/>
                  <a:pt x="1274" y="301"/>
                </a:cubicBezTo>
                <a:cubicBezTo>
                  <a:pt x="1245" y="346"/>
                  <a:pt x="1245" y="346"/>
                  <a:pt x="1245" y="346"/>
                </a:cubicBezTo>
                <a:cubicBezTo>
                  <a:pt x="1251" y="355"/>
                  <a:pt x="1259" y="376"/>
                  <a:pt x="1262" y="395"/>
                </a:cubicBezTo>
                <a:cubicBezTo>
                  <a:pt x="1313" y="409"/>
                  <a:pt x="1313" y="409"/>
                  <a:pt x="1313" y="409"/>
                </a:cubicBezTo>
                <a:cubicBezTo>
                  <a:pt x="1312" y="417"/>
                  <a:pt x="1311" y="453"/>
                  <a:pt x="1311" y="453"/>
                </a:cubicBezTo>
                <a:cubicBezTo>
                  <a:pt x="1259" y="462"/>
                  <a:pt x="1259" y="462"/>
                  <a:pt x="1259" y="462"/>
                </a:cubicBezTo>
                <a:lnTo>
                  <a:pt x="1258" y="463"/>
                </a:lnTo>
                <a:close/>
                <a:moveTo>
                  <a:pt x="1198" y="341"/>
                </a:moveTo>
                <a:cubicBezTo>
                  <a:pt x="1154" y="292"/>
                  <a:pt x="1079" y="288"/>
                  <a:pt x="1031" y="331"/>
                </a:cubicBezTo>
                <a:cubicBezTo>
                  <a:pt x="982" y="376"/>
                  <a:pt x="978" y="450"/>
                  <a:pt x="1023" y="499"/>
                </a:cubicBezTo>
                <a:cubicBezTo>
                  <a:pt x="1066" y="547"/>
                  <a:pt x="1141" y="551"/>
                  <a:pt x="1190" y="507"/>
                </a:cubicBezTo>
                <a:cubicBezTo>
                  <a:pt x="1238" y="464"/>
                  <a:pt x="1242" y="389"/>
                  <a:pt x="1198" y="341"/>
                </a:cubicBezTo>
                <a:close/>
                <a:moveTo>
                  <a:pt x="800" y="175"/>
                </a:moveTo>
                <a:cubicBezTo>
                  <a:pt x="784" y="190"/>
                  <a:pt x="784" y="212"/>
                  <a:pt x="797" y="227"/>
                </a:cubicBezTo>
                <a:cubicBezTo>
                  <a:pt x="811" y="241"/>
                  <a:pt x="833" y="244"/>
                  <a:pt x="849" y="229"/>
                </a:cubicBezTo>
                <a:cubicBezTo>
                  <a:pt x="863" y="216"/>
                  <a:pt x="863" y="194"/>
                  <a:pt x="850" y="179"/>
                </a:cubicBezTo>
                <a:cubicBezTo>
                  <a:pt x="837" y="164"/>
                  <a:pt x="815" y="162"/>
                  <a:pt x="800" y="175"/>
                </a:cubicBezTo>
                <a:close/>
                <a:moveTo>
                  <a:pt x="941" y="366"/>
                </a:moveTo>
                <a:cubicBezTo>
                  <a:pt x="898" y="336"/>
                  <a:pt x="898" y="336"/>
                  <a:pt x="898" y="336"/>
                </a:cubicBezTo>
                <a:cubicBezTo>
                  <a:pt x="897" y="337"/>
                  <a:pt x="897" y="337"/>
                  <a:pt x="897" y="337"/>
                </a:cubicBezTo>
                <a:cubicBezTo>
                  <a:pt x="887" y="344"/>
                  <a:pt x="867" y="351"/>
                  <a:pt x="849" y="353"/>
                </a:cubicBezTo>
                <a:cubicBezTo>
                  <a:pt x="834" y="405"/>
                  <a:pt x="834" y="405"/>
                  <a:pt x="834" y="405"/>
                </a:cubicBezTo>
                <a:cubicBezTo>
                  <a:pt x="826" y="404"/>
                  <a:pt x="791" y="402"/>
                  <a:pt x="791" y="402"/>
                </a:cubicBezTo>
                <a:cubicBezTo>
                  <a:pt x="782" y="350"/>
                  <a:pt x="782" y="350"/>
                  <a:pt x="782" y="350"/>
                </a:cubicBezTo>
                <a:cubicBezTo>
                  <a:pt x="770" y="347"/>
                  <a:pt x="749" y="339"/>
                  <a:pt x="735" y="328"/>
                </a:cubicBezTo>
                <a:cubicBezTo>
                  <a:pt x="688" y="352"/>
                  <a:pt x="688" y="352"/>
                  <a:pt x="688" y="352"/>
                </a:cubicBezTo>
                <a:cubicBezTo>
                  <a:pt x="683" y="347"/>
                  <a:pt x="659" y="320"/>
                  <a:pt x="659" y="320"/>
                </a:cubicBezTo>
                <a:cubicBezTo>
                  <a:pt x="689" y="277"/>
                  <a:pt x="689" y="277"/>
                  <a:pt x="689" y="277"/>
                </a:cubicBezTo>
                <a:cubicBezTo>
                  <a:pt x="684" y="266"/>
                  <a:pt x="675" y="246"/>
                  <a:pt x="673" y="227"/>
                </a:cubicBezTo>
                <a:cubicBezTo>
                  <a:pt x="622" y="213"/>
                  <a:pt x="622" y="213"/>
                  <a:pt x="622" y="213"/>
                </a:cubicBezTo>
                <a:cubicBezTo>
                  <a:pt x="622" y="205"/>
                  <a:pt x="623" y="170"/>
                  <a:pt x="623" y="170"/>
                </a:cubicBezTo>
                <a:cubicBezTo>
                  <a:pt x="677" y="159"/>
                  <a:pt x="677" y="159"/>
                  <a:pt x="677" y="159"/>
                </a:cubicBezTo>
                <a:cubicBezTo>
                  <a:pt x="684" y="133"/>
                  <a:pt x="685" y="132"/>
                  <a:pt x="699" y="113"/>
                </a:cubicBezTo>
                <a:cubicBezTo>
                  <a:pt x="673" y="67"/>
                  <a:pt x="673" y="67"/>
                  <a:pt x="673" y="67"/>
                </a:cubicBezTo>
                <a:cubicBezTo>
                  <a:pt x="679" y="61"/>
                  <a:pt x="705" y="38"/>
                  <a:pt x="705" y="38"/>
                </a:cubicBezTo>
                <a:cubicBezTo>
                  <a:pt x="749" y="67"/>
                  <a:pt x="749" y="67"/>
                  <a:pt x="749" y="67"/>
                </a:cubicBezTo>
                <a:cubicBezTo>
                  <a:pt x="760" y="62"/>
                  <a:pt x="779" y="53"/>
                  <a:pt x="798" y="52"/>
                </a:cubicBezTo>
                <a:cubicBezTo>
                  <a:pt x="814" y="0"/>
                  <a:pt x="814" y="0"/>
                  <a:pt x="814" y="0"/>
                </a:cubicBezTo>
                <a:cubicBezTo>
                  <a:pt x="821" y="1"/>
                  <a:pt x="857" y="1"/>
                  <a:pt x="857" y="1"/>
                </a:cubicBezTo>
                <a:cubicBezTo>
                  <a:pt x="866" y="56"/>
                  <a:pt x="866" y="56"/>
                  <a:pt x="866" y="56"/>
                </a:cubicBezTo>
                <a:cubicBezTo>
                  <a:pt x="893" y="64"/>
                  <a:pt x="895" y="63"/>
                  <a:pt x="913" y="78"/>
                </a:cubicBezTo>
                <a:cubicBezTo>
                  <a:pt x="958" y="52"/>
                  <a:pt x="958" y="52"/>
                  <a:pt x="958" y="52"/>
                </a:cubicBezTo>
                <a:cubicBezTo>
                  <a:pt x="964" y="58"/>
                  <a:pt x="987" y="84"/>
                  <a:pt x="987" y="84"/>
                </a:cubicBezTo>
                <a:cubicBezTo>
                  <a:pt x="958" y="128"/>
                  <a:pt x="958" y="128"/>
                  <a:pt x="958" y="128"/>
                </a:cubicBezTo>
                <a:cubicBezTo>
                  <a:pt x="965" y="138"/>
                  <a:pt x="972" y="158"/>
                  <a:pt x="976" y="177"/>
                </a:cubicBezTo>
                <a:cubicBezTo>
                  <a:pt x="1026" y="191"/>
                  <a:pt x="1026" y="191"/>
                  <a:pt x="1026" y="191"/>
                </a:cubicBezTo>
                <a:cubicBezTo>
                  <a:pt x="1025" y="199"/>
                  <a:pt x="1024" y="236"/>
                  <a:pt x="1024" y="236"/>
                </a:cubicBezTo>
                <a:cubicBezTo>
                  <a:pt x="972" y="245"/>
                  <a:pt x="972" y="245"/>
                  <a:pt x="972" y="245"/>
                </a:cubicBezTo>
                <a:cubicBezTo>
                  <a:pt x="971" y="246"/>
                  <a:pt x="971" y="246"/>
                  <a:pt x="971" y="246"/>
                </a:cubicBezTo>
                <a:cubicBezTo>
                  <a:pt x="968" y="257"/>
                  <a:pt x="959" y="277"/>
                  <a:pt x="947" y="292"/>
                </a:cubicBezTo>
                <a:cubicBezTo>
                  <a:pt x="973" y="337"/>
                  <a:pt x="973" y="337"/>
                  <a:pt x="973" y="337"/>
                </a:cubicBezTo>
                <a:cubicBezTo>
                  <a:pt x="967" y="343"/>
                  <a:pt x="941" y="366"/>
                  <a:pt x="941" y="366"/>
                </a:cubicBezTo>
                <a:close/>
                <a:moveTo>
                  <a:pt x="912" y="123"/>
                </a:moveTo>
                <a:cubicBezTo>
                  <a:pt x="867" y="74"/>
                  <a:pt x="792" y="71"/>
                  <a:pt x="745" y="114"/>
                </a:cubicBezTo>
                <a:cubicBezTo>
                  <a:pt x="695" y="158"/>
                  <a:pt x="692" y="233"/>
                  <a:pt x="736" y="282"/>
                </a:cubicBezTo>
                <a:cubicBezTo>
                  <a:pt x="779" y="330"/>
                  <a:pt x="854" y="334"/>
                  <a:pt x="903" y="289"/>
                </a:cubicBezTo>
                <a:cubicBezTo>
                  <a:pt x="951" y="246"/>
                  <a:pt x="955" y="171"/>
                  <a:pt x="912" y="123"/>
                </a:cubicBezTo>
                <a:close/>
                <a:moveTo>
                  <a:pt x="775" y="451"/>
                </a:moveTo>
                <a:cubicBezTo>
                  <a:pt x="897" y="451"/>
                  <a:pt x="897" y="451"/>
                  <a:pt x="897" y="451"/>
                </a:cubicBezTo>
                <a:cubicBezTo>
                  <a:pt x="897" y="1238"/>
                  <a:pt x="897" y="1238"/>
                  <a:pt x="897" y="1238"/>
                </a:cubicBezTo>
                <a:cubicBezTo>
                  <a:pt x="0" y="1238"/>
                  <a:pt x="0" y="1238"/>
                  <a:pt x="0" y="1238"/>
                </a:cubicBezTo>
                <a:cubicBezTo>
                  <a:pt x="0" y="451"/>
                  <a:pt x="0" y="451"/>
                  <a:pt x="0" y="451"/>
                </a:cubicBezTo>
                <a:cubicBezTo>
                  <a:pt x="122" y="451"/>
                  <a:pt x="122" y="451"/>
                  <a:pt x="122" y="451"/>
                </a:cubicBezTo>
                <a:cubicBezTo>
                  <a:pt x="122" y="441"/>
                  <a:pt x="122" y="441"/>
                  <a:pt x="122" y="441"/>
                </a:cubicBezTo>
                <a:cubicBezTo>
                  <a:pt x="122" y="425"/>
                  <a:pt x="135" y="412"/>
                  <a:pt x="150" y="412"/>
                </a:cubicBezTo>
                <a:cubicBezTo>
                  <a:pt x="166" y="412"/>
                  <a:pt x="179" y="425"/>
                  <a:pt x="179" y="441"/>
                </a:cubicBezTo>
                <a:cubicBezTo>
                  <a:pt x="179" y="451"/>
                  <a:pt x="179" y="451"/>
                  <a:pt x="179" y="451"/>
                </a:cubicBezTo>
                <a:cubicBezTo>
                  <a:pt x="207" y="451"/>
                  <a:pt x="207" y="451"/>
                  <a:pt x="207" y="451"/>
                </a:cubicBezTo>
                <a:cubicBezTo>
                  <a:pt x="207" y="441"/>
                  <a:pt x="207" y="441"/>
                  <a:pt x="207" y="441"/>
                </a:cubicBezTo>
                <a:cubicBezTo>
                  <a:pt x="207" y="425"/>
                  <a:pt x="220" y="412"/>
                  <a:pt x="235" y="412"/>
                </a:cubicBezTo>
                <a:cubicBezTo>
                  <a:pt x="251" y="412"/>
                  <a:pt x="264" y="425"/>
                  <a:pt x="264" y="441"/>
                </a:cubicBezTo>
                <a:cubicBezTo>
                  <a:pt x="264" y="451"/>
                  <a:pt x="264" y="451"/>
                  <a:pt x="264" y="451"/>
                </a:cubicBezTo>
                <a:cubicBezTo>
                  <a:pt x="292" y="451"/>
                  <a:pt x="292" y="451"/>
                  <a:pt x="292" y="451"/>
                </a:cubicBezTo>
                <a:cubicBezTo>
                  <a:pt x="292" y="441"/>
                  <a:pt x="292" y="441"/>
                  <a:pt x="292" y="441"/>
                </a:cubicBezTo>
                <a:cubicBezTo>
                  <a:pt x="292" y="425"/>
                  <a:pt x="305" y="412"/>
                  <a:pt x="321" y="412"/>
                </a:cubicBezTo>
                <a:cubicBezTo>
                  <a:pt x="336" y="412"/>
                  <a:pt x="349" y="425"/>
                  <a:pt x="349" y="441"/>
                </a:cubicBezTo>
                <a:cubicBezTo>
                  <a:pt x="349" y="451"/>
                  <a:pt x="349" y="451"/>
                  <a:pt x="349" y="451"/>
                </a:cubicBezTo>
                <a:cubicBezTo>
                  <a:pt x="378" y="451"/>
                  <a:pt x="378" y="451"/>
                  <a:pt x="378" y="451"/>
                </a:cubicBezTo>
                <a:cubicBezTo>
                  <a:pt x="378" y="441"/>
                  <a:pt x="378" y="441"/>
                  <a:pt x="378" y="441"/>
                </a:cubicBezTo>
                <a:cubicBezTo>
                  <a:pt x="378" y="425"/>
                  <a:pt x="390" y="412"/>
                  <a:pt x="406" y="412"/>
                </a:cubicBezTo>
                <a:cubicBezTo>
                  <a:pt x="421" y="412"/>
                  <a:pt x="434" y="425"/>
                  <a:pt x="434" y="441"/>
                </a:cubicBezTo>
                <a:cubicBezTo>
                  <a:pt x="434" y="451"/>
                  <a:pt x="434" y="451"/>
                  <a:pt x="434" y="451"/>
                </a:cubicBezTo>
                <a:cubicBezTo>
                  <a:pt x="463" y="451"/>
                  <a:pt x="463" y="451"/>
                  <a:pt x="463" y="451"/>
                </a:cubicBezTo>
                <a:cubicBezTo>
                  <a:pt x="463" y="441"/>
                  <a:pt x="463" y="441"/>
                  <a:pt x="463" y="441"/>
                </a:cubicBezTo>
                <a:cubicBezTo>
                  <a:pt x="463" y="425"/>
                  <a:pt x="475" y="412"/>
                  <a:pt x="491" y="412"/>
                </a:cubicBezTo>
                <a:cubicBezTo>
                  <a:pt x="507" y="412"/>
                  <a:pt x="519" y="425"/>
                  <a:pt x="519" y="441"/>
                </a:cubicBezTo>
                <a:cubicBezTo>
                  <a:pt x="519" y="451"/>
                  <a:pt x="519" y="451"/>
                  <a:pt x="519" y="451"/>
                </a:cubicBezTo>
                <a:cubicBezTo>
                  <a:pt x="548" y="451"/>
                  <a:pt x="548" y="451"/>
                  <a:pt x="548" y="451"/>
                </a:cubicBezTo>
                <a:cubicBezTo>
                  <a:pt x="548" y="441"/>
                  <a:pt x="548" y="441"/>
                  <a:pt x="548" y="441"/>
                </a:cubicBezTo>
                <a:cubicBezTo>
                  <a:pt x="548" y="425"/>
                  <a:pt x="561" y="412"/>
                  <a:pt x="576" y="412"/>
                </a:cubicBezTo>
                <a:cubicBezTo>
                  <a:pt x="592" y="412"/>
                  <a:pt x="604" y="425"/>
                  <a:pt x="604" y="441"/>
                </a:cubicBezTo>
                <a:cubicBezTo>
                  <a:pt x="604" y="451"/>
                  <a:pt x="604" y="451"/>
                  <a:pt x="604" y="451"/>
                </a:cubicBezTo>
                <a:cubicBezTo>
                  <a:pt x="633" y="451"/>
                  <a:pt x="633" y="451"/>
                  <a:pt x="633" y="451"/>
                </a:cubicBezTo>
                <a:cubicBezTo>
                  <a:pt x="633" y="441"/>
                  <a:pt x="633" y="441"/>
                  <a:pt x="633" y="441"/>
                </a:cubicBezTo>
                <a:cubicBezTo>
                  <a:pt x="633" y="425"/>
                  <a:pt x="646" y="412"/>
                  <a:pt x="661" y="412"/>
                </a:cubicBezTo>
                <a:cubicBezTo>
                  <a:pt x="677" y="412"/>
                  <a:pt x="690" y="425"/>
                  <a:pt x="690" y="441"/>
                </a:cubicBezTo>
                <a:cubicBezTo>
                  <a:pt x="690" y="451"/>
                  <a:pt x="690" y="451"/>
                  <a:pt x="690" y="451"/>
                </a:cubicBezTo>
                <a:cubicBezTo>
                  <a:pt x="718" y="451"/>
                  <a:pt x="718" y="451"/>
                  <a:pt x="718" y="451"/>
                </a:cubicBezTo>
                <a:cubicBezTo>
                  <a:pt x="718" y="441"/>
                  <a:pt x="718" y="441"/>
                  <a:pt x="718" y="441"/>
                </a:cubicBezTo>
                <a:cubicBezTo>
                  <a:pt x="718" y="425"/>
                  <a:pt x="731" y="412"/>
                  <a:pt x="747" y="412"/>
                </a:cubicBezTo>
                <a:cubicBezTo>
                  <a:pt x="762" y="412"/>
                  <a:pt x="775" y="425"/>
                  <a:pt x="775" y="441"/>
                </a:cubicBezTo>
                <a:lnTo>
                  <a:pt x="775" y="451"/>
                </a:lnTo>
                <a:close/>
                <a:moveTo>
                  <a:pt x="682" y="949"/>
                </a:moveTo>
                <a:cubicBezTo>
                  <a:pt x="540" y="949"/>
                  <a:pt x="540" y="949"/>
                  <a:pt x="540" y="949"/>
                </a:cubicBezTo>
                <a:cubicBezTo>
                  <a:pt x="540" y="1069"/>
                  <a:pt x="540" y="1069"/>
                  <a:pt x="540" y="1069"/>
                </a:cubicBezTo>
                <a:cubicBezTo>
                  <a:pt x="682" y="1069"/>
                  <a:pt x="682" y="1069"/>
                  <a:pt x="682" y="1069"/>
                </a:cubicBezTo>
                <a:lnTo>
                  <a:pt x="682" y="949"/>
                </a:lnTo>
                <a:close/>
                <a:moveTo>
                  <a:pt x="703" y="1069"/>
                </a:moveTo>
                <a:cubicBezTo>
                  <a:pt x="845" y="1069"/>
                  <a:pt x="845" y="1069"/>
                  <a:pt x="845" y="1069"/>
                </a:cubicBezTo>
                <a:cubicBezTo>
                  <a:pt x="845" y="949"/>
                  <a:pt x="845" y="949"/>
                  <a:pt x="845" y="949"/>
                </a:cubicBezTo>
                <a:cubicBezTo>
                  <a:pt x="703" y="949"/>
                  <a:pt x="703" y="949"/>
                  <a:pt x="703" y="949"/>
                </a:cubicBezTo>
                <a:lnTo>
                  <a:pt x="703" y="1069"/>
                </a:lnTo>
                <a:close/>
                <a:moveTo>
                  <a:pt x="377" y="1196"/>
                </a:moveTo>
                <a:cubicBezTo>
                  <a:pt x="519" y="1196"/>
                  <a:pt x="519" y="1196"/>
                  <a:pt x="519" y="1196"/>
                </a:cubicBezTo>
                <a:cubicBezTo>
                  <a:pt x="519" y="1090"/>
                  <a:pt x="519" y="1090"/>
                  <a:pt x="519" y="1090"/>
                </a:cubicBezTo>
                <a:cubicBezTo>
                  <a:pt x="377" y="1090"/>
                  <a:pt x="377" y="1090"/>
                  <a:pt x="377" y="1090"/>
                </a:cubicBezTo>
                <a:lnTo>
                  <a:pt x="377" y="1196"/>
                </a:lnTo>
                <a:close/>
                <a:moveTo>
                  <a:pt x="357" y="1090"/>
                </a:moveTo>
                <a:cubicBezTo>
                  <a:pt x="215" y="1090"/>
                  <a:pt x="215" y="1090"/>
                  <a:pt x="215" y="1090"/>
                </a:cubicBezTo>
                <a:cubicBezTo>
                  <a:pt x="215" y="1196"/>
                  <a:pt x="215" y="1196"/>
                  <a:pt x="215" y="1196"/>
                </a:cubicBezTo>
                <a:cubicBezTo>
                  <a:pt x="357" y="1196"/>
                  <a:pt x="357" y="1196"/>
                  <a:pt x="357" y="1196"/>
                </a:cubicBezTo>
                <a:lnTo>
                  <a:pt x="357" y="1090"/>
                </a:lnTo>
                <a:close/>
                <a:moveTo>
                  <a:pt x="540" y="1196"/>
                </a:moveTo>
                <a:cubicBezTo>
                  <a:pt x="682" y="1196"/>
                  <a:pt x="682" y="1196"/>
                  <a:pt x="682" y="1196"/>
                </a:cubicBezTo>
                <a:cubicBezTo>
                  <a:pt x="682" y="1090"/>
                  <a:pt x="682" y="1090"/>
                  <a:pt x="682" y="1090"/>
                </a:cubicBezTo>
                <a:cubicBezTo>
                  <a:pt x="540" y="1090"/>
                  <a:pt x="540" y="1090"/>
                  <a:pt x="540" y="1090"/>
                </a:cubicBezTo>
                <a:lnTo>
                  <a:pt x="540" y="1196"/>
                </a:lnTo>
                <a:close/>
                <a:moveTo>
                  <a:pt x="519" y="949"/>
                </a:moveTo>
                <a:cubicBezTo>
                  <a:pt x="377" y="949"/>
                  <a:pt x="377" y="949"/>
                  <a:pt x="377" y="949"/>
                </a:cubicBezTo>
                <a:cubicBezTo>
                  <a:pt x="377" y="1069"/>
                  <a:pt x="377" y="1069"/>
                  <a:pt x="377" y="1069"/>
                </a:cubicBezTo>
                <a:cubicBezTo>
                  <a:pt x="519" y="1069"/>
                  <a:pt x="519" y="1069"/>
                  <a:pt x="519" y="1069"/>
                </a:cubicBezTo>
                <a:lnTo>
                  <a:pt x="519" y="949"/>
                </a:lnTo>
                <a:close/>
                <a:moveTo>
                  <a:pt x="357" y="949"/>
                </a:moveTo>
                <a:cubicBezTo>
                  <a:pt x="215" y="949"/>
                  <a:pt x="215" y="949"/>
                  <a:pt x="215" y="949"/>
                </a:cubicBezTo>
                <a:cubicBezTo>
                  <a:pt x="215" y="1069"/>
                  <a:pt x="215" y="1069"/>
                  <a:pt x="215" y="1069"/>
                </a:cubicBezTo>
                <a:cubicBezTo>
                  <a:pt x="357" y="1069"/>
                  <a:pt x="357" y="1069"/>
                  <a:pt x="357" y="1069"/>
                </a:cubicBezTo>
                <a:lnTo>
                  <a:pt x="357" y="949"/>
                </a:lnTo>
                <a:close/>
                <a:moveTo>
                  <a:pt x="194" y="949"/>
                </a:moveTo>
                <a:cubicBezTo>
                  <a:pt x="52" y="949"/>
                  <a:pt x="52" y="949"/>
                  <a:pt x="52" y="949"/>
                </a:cubicBezTo>
                <a:cubicBezTo>
                  <a:pt x="52" y="1069"/>
                  <a:pt x="52" y="1069"/>
                  <a:pt x="52" y="1069"/>
                </a:cubicBezTo>
                <a:cubicBezTo>
                  <a:pt x="194" y="1069"/>
                  <a:pt x="194" y="1069"/>
                  <a:pt x="194" y="1069"/>
                </a:cubicBezTo>
                <a:lnTo>
                  <a:pt x="194" y="949"/>
                </a:lnTo>
                <a:close/>
                <a:moveTo>
                  <a:pt x="52" y="1090"/>
                </a:moveTo>
                <a:cubicBezTo>
                  <a:pt x="52" y="1196"/>
                  <a:pt x="52" y="1196"/>
                  <a:pt x="52" y="1196"/>
                </a:cubicBezTo>
                <a:cubicBezTo>
                  <a:pt x="194" y="1196"/>
                  <a:pt x="194" y="1196"/>
                  <a:pt x="194" y="1196"/>
                </a:cubicBezTo>
                <a:cubicBezTo>
                  <a:pt x="194" y="1090"/>
                  <a:pt x="194" y="1090"/>
                  <a:pt x="194" y="1090"/>
                </a:cubicBezTo>
                <a:lnTo>
                  <a:pt x="52" y="1090"/>
                </a:lnTo>
                <a:close/>
                <a:moveTo>
                  <a:pt x="845" y="1196"/>
                </a:moveTo>
                <a:cubicBezTo>
                  <a:pt x="845" y="1090"/>
                  <a:pt x="845" y="1090"/>
                  <a:pt x="845" y="1090"/>
                </a:cubicBezTo>
                <a:cubicBezTo>
                  <a:pt x="703" y="1090"/>
                  <a:pt x="703" y="1090"/>
                  <a:pt x="703" y="1090"/>
                </a:cubicBezTo>
                <a:cubicBezTo>
                  <a:pt x="703" y="1196"/>
                  <a:pt x="703" y="1196"/>
                  <a:pt x="703" y="1196"/>
                </a:cubicBezTo>
                <a:lnTo>
                  <a:pt x="845" y="1196"/>
                </a:lnTo>
                <a:close/>
                <a:moveTo>
                  <a:pt x="845" y="808"/>
                </a:moveTo>
                <a:cubicBezTo>
                  <a:pt x="703" y="808"/>
                  <a:pt x="703" y="808"/>
                  <a:pt x="703" y="808"/>
                </a:cubicBezTo>
                <a:cubicBezTo>
                  <a:pt x="703" y="928"/>
                  <a:pt x="703" y="928"/>
                  <a:pt x="703" y="928"/>
                </a:cubicBezTo>
                <a:cubicBezTo>
                  <a:pt x="845" y="928"/>
                  <a:pt x="845" y="928"/>
                  <a:pt x="845" y="928"/>
                </a:cubicBezTo>
                <a:lnTo>
                  <a:pt x="845" y="808"/>
                </a:lnTo>
                <a:close/>
                <a:moveTo>
                  <a:pt x="682" y="808"/>
                </a:moveTo>
                <a:cubicBezTo>
                  <a:pt x="540" y="808"/>
                  <a:pt x="540" y="808"/>
                  <a:pt x="540" y="808"/>
                </a:cubicBezTo>
                <a:cubicBezTo>
                  <a:pt x="540" y="928"/>
                  <a:pt x="540" y="928"/>
                  <a:pt x="540" y="928"/>
                </a:cubicBezTo>
                <a:cubicBezTo>
                  <a:pt x="682" y="928"/>
                  <a:pt x="682" y="928"/>
                  <a:pt x="682" y="928"/>
                </a:cubicBezTo>
                <a:lnTo>
                  <a:pt x="682" y="808"/>
                </a:lnTo>
                <a:close/>
                <a:moveTo>
                  <a:pt x="519" y="808"/>
                </a:moveTo>
                <a:cubicBezTo>
                  <a:pt x="377" y="808"/>
                  <a:pt x="377" y="808"/>
                  <a:pt x="377" y="808"/>
                </a:cubicBezTo>
                <a:cubicBezTo>
                  <a:pt x="377" y="928"/>
                  <a:pt x="377" y="928"/>
                  <a:pt x="377" y="928"/>
                </a:cubicBezTo>
                <a:cubicBezTo>
                  <a:pt x="519" y="928"/>
                  <a:pt x="519" y="928"/>
                  <a:pt x="519" y="928"/>
                </a:cubicBezTo>
                <a:lnTo>
                  <a:pt x="519" y="808"/>
                </a:lnTo>
                <a:close/>
                <a:moveTo>
                  <a:pt x="357" y="808"/>
                </a:moveTo>
                <a:cubicBezTo>
                  <a:pt x="215" y="808"/>
                  <a:pt x="215" y="808"/>
                  <a:pt x="215" y="808"/>
                </a:cubicBezTo>
                <a:cubicBezTo>
                  <a:pt x="215" y="928"/>
                  <a:pt x="215" y="928"/>
                  <a:pt x="215" y="928"/>
                </a:cubicBezTo>
                <a:cubicBezTo>
                  <a:pt x="357" y="928"/>
                  <a:pt x="357" y="928"/>
                  <a:pt x="357" y="928"/>
                </a:cubicBezTo>
                <a:lnTo>
                  <a:pt x="357" y="808"/>
                </a:lnTo>
                <a:close/>
                <a:moveTo>
                  <a:pt x="194" y="808"/>
                </a:moveTo>
                <a:cubicBezTo>
                  <a:pt x="52" y="808"/>
                  <a:pt x="52" y="808"/>
                  <a:pt x="52" y="808"/>
                </a:cubicBezTo>
                <a:cubicBezTo>
                  <a:pt x="52" y="928"/>
                  <a:pt x="52" y="928"/>
                  <a:pt x="52" y="928"/>
                </a:cubicBezTo>
                <a:cubicBezTo>
                  <a:pt x="194" y="928"/>
                  <a:pt x="194" y="928"/>
                  <a:pt x="194" y="928"/>
                </a:cubicBezTo>
                <a:lnTo>
                  <a:pt x="194" y="808"/>
                </a:lnTo>
                <a:close/>
                <a:moveTo>
                  <a:pt x="845" y="668"/>
                </a:moveTo>
                <a:cubicBezTo>
                  <a:pt x="703" y="668"/>
                  <a:pt x="703" y="668"/>
                  <a:pt x="703" y="668"/>
                </a:cubicBezTo>
                <a:cubicBezTo>
                  <a:pt x="703" y="787"/>
                  <a:pt x="703" y="787"/>
                  <a:pt x="703" y="787"/>
                </a:cubicBezTo>
                <a:cubicBezTo>
                  <a:pt x="845" y="787"/>
                  <a:pt x="845" y="787"/>
                  <a:pt x="845" y="787"/>
                </a:cubicBezTo>
                <a:lnTo>
                  <a:pt x="845" y="668"/>
                </a:lnTo>
                <a:close/>
                <a:moveTo>
                  <a:pt x="682" y="668"/>
                </a:moveTo>
                <a:cubicBezTo>
                  <a:pt x="540" y="668"/>
                  <a:pt x="540" y="668"/>
                  <a:pt x="540" y="668"/>
                </a:cubicBezTo>
                <a:cubicBezTo>
                  <a:pt x="540" y="787"/>
                  <a:pt x="540" y="787"/>
                  <a:pt x="540" y="787"/>
                </a:cubicBezTo>
                <a:cubicBezTo>
                  <a:pt x="682" y="787"/>
                  <a:pt x="682" y="787"/>
                  <a:pt x="682" y="787"/>
                </a:cubicBezTo>
                <a:lnTo>
                  <a:pt x="682" y="668"/>
                </a:lnTo>
                <a:close/>
                <a:moveTo>
                  <a:pt x="519" y="668"/>
                </a:moveTo>
                <a:cubicBezTo>
                  <a:pt x="377" y="668"/>
                  <a:pt x="377" y="668"/>
                  <a:pt x="377" y="668"/>
                </a:cubicBezTo>
                <a:cubicBezTo>
                  <a:pt x="377" y="787"/>
                  <a:pt x="377" y="787"/>
                  <a:pt x="377" y="787"/>
                </a:cubicBezTo>
                <a:cubicBezTo>
                  <a:pt x="519" y="787"/>
                  <a:pt x="519" y="787"/>
                  <a:pt x="519" y="787"/>
                </a:cubicBezTo>
                <a:lnTo>
                  <a:pt x="519" y="668"/>
                </a:lnTo>
                <a:close/>
                <a:moveTo>
                  <a:pt x="357" y="668"/>
                </a:moveTo>
                <a:cubicBezTo>
                  <a:pt x="215" y="668"/>
                  <a:pt x="215" y="668"/>
                  <a:pt x="215" y="668"/>
                </a:cubicBezTo>
                <a:cubicBezTo>
                  <a:pt x="215" y="787"/>
                  <a:pt x="215" y="787"/>
                  <a:pt x="215" y="787"/>
                </a:cubicBezTo>
                <a:cubicBezTo>
                  <a:pt x="357" y="787"/>
                  <a:pt x="357" y="787"/>
                  <a:pt x="357" y="787"/>
                </a:cubicBezTo>
                <a:lnTo>
                  <a:pt x="357" y="668"/>
                </a:lnTo>
                <a:close/>
                <a:moveTo>
                  <a:pt x="194" y="668"/>
                </a:moveTo>
                <a:cubicBezTo>
                  <a:pt x="52" y="668"/>
                  <a:pt x="52" y="668"/>
                  <a:pt x="52" y="668"/>
                </a:cubicBezTo>
                <a:cubicBezTo>
                  <a:pt x="52" y="787"/>
                  <a:pt x="52" y="787"/>
                  <a:pt x="52" y="787"/>
                </a:cubicBezTo>
                <a:cubicBezTo>
                  <a:pt x="194" y="787"/>
                  <a:pt x="194" y="787"/>
                  <a:pt x="194" y="787"/>
                </a:cubicBezTo>
                <a:lnTo>
                  <a:pt x="194" y="668"/>
                </a:lnTo>
                <a:close/>
                <a:moveTo>
                  <a:pt x="775" y="493"/>
                </a:moveTo>
                <a:cubicBezTo>
                  <a:pt x="775" y="511"/>
                  <a:pt x="775" y="511"/>
                  <a:pt x="775" y="511"/>
                </a:cubicBezTo>
                <a:cubicBezTo>
                  <a:pt x="775" y="527"/>
                  <a:pt x="762" y="540"/>
                  <a:pt x="747" y="540"/>
                </a:cubicBezTo>
                <a:cubicBezTo>
                  <a:pt x="731" y="540"/>
                  <a:pt x="718" y="527"/>
                  <a:pt x="718" y="511"/>
                </a:cubicBezTo>
                <a:cubicBezTo>
                  <a:pt x="718" y="493"/>
                  <a:pt x="718" y="493"/>
                  <a:pt x="718" y="493"/>
                </a:cubicBezTo>
                <a:cubicBezTo>
                  <a:pt x="690" y="493"/>
                  <a:pt x="690" y="493"/>
                  <a:pt x="690" y="493"/>
                </a:cubicBezTo>
                <a:cubicBezTo>
                  <a:pt x="690" y="511"/>
                  <a:pt x="690" y="511"/>
                  <a:pt x="690" y="511"/>
                </a:cubicBezTo>
                <a:cubicBezTo>
                  <a:pt x="690" y="527"/>
                  <a:pt x="677" y="540"/>
                  <a:pt x="661" y="540"/>
                </a:cubicBezTo>
                <a:cubicBezTo>
                  <a:pt x="646" y="540"/>
                  <a:pt x="633" y="527"/>
                  <a:pt x="633" y="511"/>
                </a:cubicBezTo>
                <a:cubicBezTo>
                  <a:pt x="633" y="493"/>
                  <a:pt x="633" y="493"/>
                  <a:pt x="633" y="493"/>
                </a:cubicBezTo>
                <a:cubicBezTo>
                  <a:pt x="604" y="493"/>
                  <a:pt x="604" y="493"/>
                  <a:pt x="604" y="493"/>
                </a:cubicBezTo>
                <a:cubicBezTo>
                  <a:pt x="604" y="511"/>
                  <a:pt x="604" y="511"/>
                  <a:pt x="604" y="511"/>
                </a:cubicBezTo>
                <a:cubicBezTo>
                  <a:pt x="604" y="527"/>
                  <a:pt x="592" y="540"/>
                  <a:pt x="576" y="540"/>
                </a:cubicBezTo>
                <a:cubicBezTo>
                  <a:pt x="561" y="540"/>
                  <a:pt x="548" y="527"/>
                  <a:pt x="548" y="511"/>
                </a:cubicBezTo>
                <a:cubicBezTo>
                  <a:pt x="548" y="493"/>
                  <a:pt x="548" y="493"/>
                  <a:pt x="548" y="493"/>
                </a:cubicBezTo>
                <a:cubicBezTo>
                  <a:pt x="519" y="493"/>
                  <a:pt x="519" y="493"/>
                  <a:pt x="519" y="493"/>
                </a:cubicBezTo>
                <a:cubicBezTo>
                  <a:pt x="519" y="511"/>
                  <a:pt x="519" y="511"/>
                  <a:pt x="519" y="511"/>
                </a:cubicBezTo>
                <a:cubicBezTo>
                  <a:pt x="519" y="527"/>
                  <a:pt x="507" y="540"/>
                  <a:pt x="491" y="540"/>
                </a:cubicBezTo>
                <a:cubicBezTo>
                  <a:pt x="475" y="540"/>
                  <a:pt x="463" y="527"/>
                  <a:pt x="463" y="511"/>
                </a:cubicBezTo>
                <a:cubicBezTo>
                  <a:pt x="463" y="493"/>
                  <a:pt x="463" y="493"/>
                  <a:pt x="463" y="493"/>
                </a:cubicBezTo>
                <a:cubicBezTo>
                  <a:pt x="434" y="493"/>
                  <a:pt x="434" y="493"/>
                  <a:pt x="434" y="493"/>
                </a:cubicBezTo>
                <a:cubicBezTo>
                  <a:pt x="434" y="511"/>
                  <a:pt x="434" y="511"/>
                  <a:pt x="434" y="511"/>
                </a:cubicBezTo>
                <a:cubicBezTo>
                  <a:pt x="434" y="527"/>
                  <a:pt x="421" y="540"/>
                  <a:pt x="406" y="540"/>
                </a:cubicBezTo>
                <a:cubicBezTo>
                  <a:pt x="390" y="540"/>
                  <a:pt x="378" y="527"/>
                  <a:pt x="378" y="511"/>
                </a:cubicBezTo>
                <a:cubicBezTo>
                  <a:pt x="378" y="493"/>
                  <a:pt x="378" y="493"/>
                  <a:pt x="378" y="493"/>
                </a:cubicBezTo>
                <a:cubicBezTo>
                  <a:pt x="349" y="493"/>
                  <a:pt x="349" y="493"/>
                  <a:pt x="349" y="493"/>
                </a:cubicBezTo>
                <a:cubicBezTo>
                  <a:pt x="349" y="511"/>
                  <a:pt x="349" y="511"/>
                  <a:pt x="349" y="511"/>
                </a:cubicBezTo>
                <a:cubicBezTo>
                  <a:pt x="349" y="527"/>
                  <a:pt x="336" y="540"/>
                  <a:pt x="321" y="540"/>
                </a:cubicBezTo>
                <a:cubicBezTo>
                  <a:pt x="305" y="540"/>
                  <a:pt x="292" y="527"/>
                  <a:pt x="292" y="511"/>
                </a:cubicBezTo>
                <a:cubicBezTo>
                  <a:pt x="292" y="493"/>
                  <a:pt x="292" y="493"/>
                  <a:pt x="292" y="493"/>
                </a:cubicBezTo>
                <a:cubicBezTo>
                  <a:pt x="264" y="493"/>
                  <a:pt x="264" y="493"/>
                  <a:pt x="264" y="493"/>
                </a:cubicBezTo>
                <a:cubicBezTo>
                  <a:pt x="264" y="511"/>
                  <a:pt x="264" y="511"/>
                  <a:pt x="264" y="511"/>
                </a:cubicBezTo>
                <a:cubicBezTo>
                  <a:pt x="264" y="527"/>
                  <a:pt x="251" y="540"/>
                  <a:pt x="235" y="540"/>
                </a:cubicBezTo>
                <a:cubicBezTo>
                  <a:pt x="220" y="540"/>
                  <a:pt x="207" y="527"/>
                  <a:pt x="207" y="511"/>
                </a:cubicBezTo>
                <a:cubicBezTo>
                  <a:pt x="207" y="493"/>
                  <a:pt x="207" y="493"/>
                  <a:pt x="207" y="493"/>
                </a:cubicBezTo>
                <a:cubicBezTo>
                  <a:pt x="179" y="493"/>
                  <a:pt x="179" y="493"/>
                  <a:pt x="179" y="493"/>
                </a:cubicBezTo>
                <a:cubicBezTo>
                  <a:pt x="179" y="511"/>
                  <a:pt x="179" y="511"/>
                  <a:pt x="179" y="511"/>
                </a:cubicBezTo>
                <a:cubicBezTo>
                  <a:pt x="179" y="527"/>
                  <a:pt x="166" y="540"/>
                  <a:pt x="150" y="540"/>
                </a:cubicBezTo>
                <a:cubicBezTo>
                  <a:pt x="135" y="540"/>
                  <a:pt x="122" y="527"/>
                  <a:pt x="122" y="511"/>
                </a:cubicBezTo>
                <a:cubicBezTo>
                  <a:pt x="122" y="493"/>
                  <a:pt x="122" y="493"/>
                  <a:pt x="122" y="493"/>
                </a:cubicBezTo>
                <a:cubicBezTo>
                  <a:pt x="42" y="493"/>
                  <a:pt x="42" y="493"/>
                  <a:pt x="42" y="493"/>
                </a:cubicBezTo>
                <a:cubicBezTo>
                  <a:pt x="42" y="647"/>
                  <a:pt x="42" y="647"/>
                  <a:pt x="42" y="647"/>
                </a:cubicBezTo>
                <a:cubicBezTo>
                  <a:pt x="855" y="647"/>
                  <a:pt x="855" y="647"/>
                  <a:pt x="855" y="647"/>
                </a:cubicBezTo>
                <a:cubicBezTo>
                  <a:pt x="855" y="493"/>
                  <a:pt x="855" y="493"/>
                  <a:pt x="855" y="493"/>
                </a:cubicBezTo>
                <a:lnTo>
                  <a:pt x="775" y="493"/>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371853843"/>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3385" y="2136047"/>
            <a:ext cx="3499128"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716053826"/>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1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grpSp>
        <p:nvGrpSpPr>
          <p:cNvPr id="7" name="Group 6"/>
          <p:cNvGrpSpPr/>
          <p:nvPr userDrawn="1"/>
        </p:nvGrpSpPr>
        <p:grpSpPr>
          <a:xfrm>
            <a:off x="517525" y="6335971"/>
            <a:ext cx="1768475" cy="276999"/>
            <a:chOff x="517525" y="5956427"/>
            <a:chExt cx="1768475" cy="276999"/>
          </a:xfrm>
        </p:grpSpPr>
        <p:sp>
          <p:nvSpPr>
            <p:cNvPr id="8" name="TextBox 7"/>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9" name="Rectangle 8"/>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213355543"/>
      </p:ext>
    </p:extLst>
  </p:cSld>
  <p:clrMap bg1="lt1" tx1="dk1" bg2="lt2" tx2="dk2" accent1="accent1" accent2="accent2" accent3="accent3" accent4="accent4" accent5="accent5" accent6="accent6" hlink="hlink" folHlink="folHlink"/>
  <p:sldLayoutIdLst>
    <p:sldLayoutId id="2147483761" r:id="rId1"/>
    <p:sldLayoutId id="2147483762" r:id="rId2"/>
    <p:sldLayoutId id="2147483763" r:id="rId3"/>
    <p:sldLayoutId id="2147483764" r:id="rId4"/>
    <p:sldLayoutId id="2147483765" r:id="rId5"/>
    <p:sldLayoutId id="2147483766" r:id="rId6"/>
    <p:sldLayoutId id="2147483767" r:id="rId7"/>
    <p:sldLayoutId id="2147483781" r:id="rId8"/>
    <p:sldLayoutId id="2147483769" r:id="rId9"/>
    <p:sldLayoutId id="2147483770" r:id="rId10"/>
    <p:sldLayoutId id="2147483771" r:id="rId11"/>
    <p:sldLayoutId id="2147483772" r:id="rId12"/>
    <p:sldLayoutId id="2147483773" r:id="rId13"/>
    <p:sldLayoutId id="2147483774" r:id="rId14"/>
    <p:sldLayoutId id="2147483775" r:id="rId15"/>
    <p:sldLayoutId id="2147483776" r:id="rId16"/>
    <p:sldLayoutId id="2147483777" r:id="rId17"/>
    <p:sldLayoutId id="2147483778" r:id="rId18"/>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308344"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5" name="Rectangle 4"/>
          <p:cNvSpPr/>
          <p:nvPr/>
        </p:nvSpPr>
        <p:spPr bwMode="auto">
          <a:xfrm>
            <a:off x="0" y="0"/>
            <a:ext cx="12188825" cy="1447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519111" y="228601"/>
            <a:ext cx="11149014" cy="6647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113" y="1905000"/>
            <a:ext cx="11149012" cy="1618905"/>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905640138"/>
      </p:ext>
    </p:extLst>
  </p:cSld>
  <p:clrMap bg1="lt1" tx1="dk1" bg2="lt2" tx2="dk2" accent1="accent1" accent2="accent2" accent3="accent3" accent4="accent4" accent5="accent5" accent6="accent6" hlink="hlink" folHlink="folHlink"/>
  <p:sldLayoutIdLst>
    <p:sldLayoutId id="2147483780" r:id="rId1"/>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4800" b="0" kern="1200" cap="none" spc="-100" baseline="0" dirty="0">
          <a:ln w="3175">
            <a:noFill/>
          </a:ln>
          <a:solidFill>
            <a:schemeClr val="bg1">
              <a:alpha val="99000"/>
            </a:schemeClr>
          </a:solidFill>
          <a:effectLst/>
          <a:latin typeface="Segoe UI Light" pitchFamily="34" charset="0"/>
          <a:ea typeface="+mn-ea"/>
          <a:cs typeface="Arial" charset="0"/>
        </a:defRPr>
      </a:lvl1pPr>
    </p:titleStyle>
    <p:bodyStyle>
      <a:lvl1pPr marL="0" indent="0" algn="l" defTabSz="914363" rtl="0" eaLnBrk="1" latinLnBrk="0" hangingPunct="1">
        <a:lnSpc>
          <a:spcPct val="90000"/>
        </a:lnSpc>
        <a:spcBef>
          <a:spcPct val="20000"/>
        </a:spcBef>
        <a:buFont typeface="Arial" pitchFamily="34" charset="0"/>
        <a:buNone/>
        <a:defRPr sz="2400" b="0" kern="1200">
          <a:gradFill>
            <a:gsLst>
              <a:gs pos="0">
                <a:srgbClr val="595959"/>
              </a:gs>
              <a:gs pos="86000">
                <a:srgbClr val="595959"/>
              </a:gs>
            </a:gsLst>
            <a:lin ang="5400000" scaled="0"/>
          </a:gradFill>
          <a:latin typeface="Consolas" pitchFamily="49" charset="0"/>
          <a:ea typeface="+mn-ea"/>
          <a:cs typeface="Consolas" pitchFamily="49" charset="0"/>
        </a:defRPr>
      </a:lvl1pPr>
      <a:lvl2pPr marL="384954" indent="-7937" algn="l" defTabSz="914363" rtl="0" eaLnBrk="1" latinLnBrk="0" hangingPunct="1">
        <a:lnSpc>
          <a:spcPct val="90000"/>
        </a:lnSpc>
        <a:spcBef>
          <a:spcPct val="20000"/>
        </a:spcBef>
        <a:buFont typeface="Arial" pitchFamily="34" charset="0"/>
        <a:buNone/>
        <a:defRPr sz="2000" b="0" kern="1200">
          <a:gradFill>
            <a:gsLst>
              <a:gs pos="0">
                <a:srgbClr val="595959"/>
              </a:gs>
              <a:gs pos="86000">
                <a:srgbClr val="595959"/>
              </a:gs>
            </a:gsLst>
            <a:lin ang="5400000" scaled="0"/>
          </a:gradFill>
          <a:latin typeface="Consolas" pitchFamily="49" charset="0"/>
          <a:ea typeface="+mn-ea"/>
          <a:cs typeface="Consolas" pitchFamily="49" charset="0"/>
        </a:defRPr>
      </a:lvl2pPr>
      <a:lvl3pPr marL="761970"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3pPr>
      <a:lvl4pPr marL="1094009"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4pPr>
      <a:lvl5pPr marL="1426047" indent="0"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6.xml"/></Relationships>
</file>

<file path=ppt/slides/_rels/slide10.xml.rels><?xml version="1.0" encoding="UTF-8" standalone="yes"?>
<Relationships xmlns="http://schemas.openxmlformats.org/package/2006/relationships"><Relationship Id="rId8" Type="http://schemas.openxmlformats.org/officeDocument/2006/relationships/hyperlink" Target="http://forums.dev.windows.com/" TargetMode="External"/><Relationship Id="rId3" Type="http://schemas.openxmlformats.org/officeDocument/2006/relationships/tags" Target="../tags/tag13.xml"/><Relationship Id="rId7" Type="http://schemas.openxmlformats.org/officeDocument/2006/relationships/image" Target="../media/image9.emf"/><Relationship Id="rId2" Type="http://schemas.openxmlformats.org/officeDocument/2006/relationships/tags" Target="../tags/tag12.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notesSlide" Target="../notesSlides/notesSlide9.xml"/><Relationship Id="rId4"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14.xml"/><Relationship Id="rId1" Type="http://schemas.openxmlformats.org/officeDocument/2006/relationships/vmlDrawing" Target="../drawings/vmlDrawing10.vml"/><Relationship Id="rId6" Type="http://schemas.openxmlformats.org/officeDocument/2006/relationships/image" Target="../media/image9.emf"/><Relationship Id="rId5" Type="http://schemas.openxmlformats.org/officeDocument/2006/relationships/oleObject" Target="../embeddings/oleObject10.bin"/><Relationship Id="rId4" Type="http://schemas.openxmlformats.org/officeDocument/2006/relationships/notesSlide" Target="../notesSlides/notesSlide10.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9.emf"/><Relationship Id="rId5" Type="http://schemas.openxmlformats.org/officeDocument/2006/relationships/oleObject" Target="../embeddings/oleObject1.bin"/><Relationship Id="rId4" Type="http://schemas.openxmlformats.org/officeDocument/2006/relationships/notesSlide" Target="../notesSlides/notesSlide1.xml"/></Relationships>
</file>

<file path=ppt/slides/_rels/slide3.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4.xml"/><Relationship Id="rId7" Type="http://schemas.openxmlformats.org/officeDocument/2006/relationships/oleObject" Target="../embeddings/oleObject2.bin"/><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notesSlide" Target="../notesSlides/notesSlide2.xml"/><Relationship Id="rId5" Type="http://schemas.openxmlformats.org/officeDocument/2006/relationships/slideLayout" Target="../slideLayouts/slideLayout8.xml"/><Relationship Id="rId4" Type="http://schemas.openxmlformats.org/officeDocument/2006/relationships/tags" Target="../tags/tag5.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9.emf"/><Relationship Id="rId5" Type="http://schemas.openxmlformats.org/officeDocument/2006/relationships/oleObject" Target="../embeddings/oleObject3.bin"/><Relationship Id="rId4" Type="http://schemas.openxmlformats.org/officeDocument/2006/relationships/notesSlide" Target="../notesSlides/notesSlide3.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9.emf"/><Relationship Id="rId5" Type="http://schemas.openxmlformats.org/officeDocument/2006/relationships/oleObject" Target="../embeddings/oleObject4.bin"/><Relationship Id="rId4" Type="http://schemas.openxmlformats.org/officeDocument/2006/relationships/notesSlide" Target="../notesSlides/notesSlide4.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0.png"/><Relationship Id="rId2" Type="http://schemas.openxmlformats.org/officeDocument/2006/relationships/tags" Target="../tags/tag8.xml"/><Relationship Id="rId1" Type="http://schemas.openxmlformats.org/officeDocument/2006/relationships/vmlDrawing" Target="../drawings/vmlDrawing5.vml"/><Relationship Id="rId6" Type="http://schemas.openxmlformats.org/officeDocument/2006/relationships/image" Target="../media/image9.emf"/><Relationship Id="rId5" Type="http://schemas.openxmlformats.org/officeDocument/2006/relationships/oleObject" Target="../embeddings/oleObject5.bin"/><Relationship Id="rId4" Type="http://schemas.openxmlformats.org/officeDocument/2006/relationships/notesSlide" Target="../notesSlides/notesSlide5.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9.xml"/><Relationship Id="rId1" Type="http://schemas.openxmlformats.org/officeDocument/2006/relationships/vmlDrawing" Target="../drawings/vmlDrawing6.vml"/><Relationship Id="rId6" Type="http://schemas.openxmlformats.org/officeDocument/2006/relationships/image" Target="../media/image9.emf"/><Relationship Id="rId5" Type="http://schemas.openxmlformats.org/officeDocument/2006/relationships/oleObject" Target="../embeddings/oleObject6.bin"/><Relationship Id="rId4" Type="http://schemas.openxmlformats.org/officeDocument/2006/relationships/notesSlide" Target="../notesSlides/notesSlide6.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0.xml"/><Relationship Id="rId1" Type="http://schemas.openxmlformats.org/officeDocument/2006/relationships/vmlDrawing" Target="../drawings/vmlDrawing7.vml"/><Relationship Id="rId6" Type="http://schemas.openxmlformats.org/officeDocument/2006/relationships/image" Target="../media/image9.emf"/><Relationship Id="rId5" Type="http://schemas.openxmlformats.org/officeDocument/2006/relationships/oleObject" Target="../embeddings/oleObject7.bin"/><Relationship Id="rId4" Type="http://schemas.openxmlformats.org/officeDocument/2006/relationships/notesSlide" Target="../notesSlides/notesSlide7.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1.xml"/><Relationship Id="rId1" Type="http://schemas.openxmlformats.org/officeDocument/2006/relationships/vmlDrawing" Target="../drawings/vmlDrawing8.vml"/><Relationship Id="rId6" Type="http://schemas.openxmlformats.org/officeDocument/2006/relationships/image" Target="../media/image9.emf"/><Relationship Id="rId5" Type="http://schemas.openxmlformats.org/officeDocument/2006/relationships/oleObject" Target="../embeddings/oleObject8.bin"/><Relationship Id="rId4" Type="http://schemas.openxmlformats.org/officeDocument/2006/relationships/notesSlide" Target="../notesSlides/notesSlide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WebCamps</a:t>
            </a:r>
            <a:r>
              <a:rPr lang="en-US" dirty="0"/>
              <a:t> Online</a:t>
            </a:r>
          </a:p>
        </p:txBody>
      </p:sp>
      <p:grpSp>
        <p:nvGrpSpPr>
          <p:cNvPr id="16" name="Group 15"/>
          <p:cNvGrpSpPr/>
          <p:nvPr/>
        </p:nvGrpSpPr>
        <p:grpSpPr>
          <a:xfrm>
            <a:off x="-1" y="1141412"/>
            <a:ext cx="11676064" cy="1645920"/>
            <a:chOff x="-1" y="1141412"/>
            <a:chExt cx="11676064" cy="1645920"/>
          </a:xfrm>
        </p:grpSpPr>
        <p:sp>
          <p:nvSpPr>
            <p:cNvPr id="4" name="Rectangle 3"/>
            <p:cNvSpPr/>
            <p:nvPr/>
          </p:nvSpPr>
          <p:spPr bwMode="auto">
            <a:xfrm>
              <a:off x="-1" y="1141412"/>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8" name="Rectangle 7"/>
            <p:cNvSpPr/>
            <p:nvPr/>
          </p:nvSpPr>
          <p:spPr>
            <a:xfrm>
              <a:off x="3651849" y="1141412"/>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Twitter: </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a:gradFill>
                    <a:gsLst>
                      <a:gs pos="0">
                        <a:srgbClr val="595959"/>
                      </a:gs>
                      <a:gs pos="86000">
                        <a:srgbClr val="595959"/>
                      </a:gs>
                    </a:gsLst>
                    <a:lin ang="5400000" scaled="0"/>
                  </a:gradFill>
                  <a:latin typeface="Segoe UI Light" pitchFamily="34" charset="0"/>
                </a:rPr>
                <a:t>Follow @</a:t>
              </a:r>
              <a:r>
                <a:rPr lang="en-US" sz="2600" spc="-100" dirty="0" err="1">
                  <a:gradFill>
                    <a:gsLst>
                      <a:gs pos="0">
                        <a:srgbClr val="595959"/>
                      </a:gs>
                      <a:gs pos="86000">
                        <a:srgbClr val="595959"/>
                      </a:gs>
                    </a:gsLst>
                    <a:lin ang="5400000" scaled="0"/>
                  </a:gradFill>
                  <a:latin typeface="Segoe UI Light" pitchFamily="34" charset="0"/>
                </a:rPr>
                <a:t>webcamps</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err="1">
                  <a:gradFill>
                    <a:gsLst>
                      <a:gs pos="0">
                        <a:srgbClr val="595959"/>
                      </a:gs>
                      <a:gs pos="86000">
                        <a:srgbClr val="595959"/>
                      </a:gs>
                    </a:gsLst>
                    <a:lin ang="5400000" scaled="0"/>
                  </a:gradFill>
                  <a:latin typeface="Segoe UI Light" pitchFamily="34" charset="0"/>
                </a:rPr>
                <a:t>Hashtag</a:t>
              </a:r>
              <a:r>
                <a:rPr lang="en-US" sz="2600" spc="-100" dirty="0">
                  <a:gradFill>
                    <a:gsLst>
                      <a:gs pos="0">
                        <a:srgbClr val="595959"/>
                      </a:gs>
                      <a:gs pos="86000">
                        <a:srgbClr val="595959"/>
                      </a:gs>
                    </a:gsLst>
                    <a:lin ang="5400000" scaled="0"/>
                  </a:gradFill>
                  <a:latin typeface="Segoe UI Light" pitchFamily="34" charset="0"/>
                </a:rPr>
                <a:t> </a:t>
              </a:r>
              <a:r>
                <a:rPr lang="en-US" sz="2600" spc="-100" dirty="0" smtClean="0">
                  <a:gradFill>
                    <a:gsLst>
                      <a:gs pos="0">
                        <a:srgbClr val="595959"/>
                      </a:gs>
                      <a:gs pos="86000">
                        <a:srgbClr val="595959"/>
                      </a:gs>
                    </a:gsLst>
                    <a:lin ang="5400000" scaled="0"/>
                  </a:gradFill>
                  <a:latin typeface="Segoe UI Light" pitchFamily="34" charset="0"/>
                </a:rPr>
                <a:t>#</a:t>
              </a:r>
              <a:r>
                <a:rPr lang="en-US" sz="2600" spc="-100" smtClean="0">
                  <a:gradFill>
                    <a:gsLst>
                      <a:gs pos="0">
                        <a:srgbClr val="595959"/>
                      </a:gs>
                      <a:gs pos="86000">
                        <a:srgbClr val="595959"/>
                      </a:gs>
                    </a:gsLst>
                    <a:lin ang="5400000" scaled="0"/>
                  </a:gradFill>
                  <a:latin typeface="Segoe UI Light" pitchFamily="34" charset="0"/>
                </a:rPr>
                <a:t>devcamps</a:t>
              </a:r>
              <a:endParaRPr lang="en-US" sz="2600" spc="-100" dirty="0">
                <a:gradFill>
                  <a:gsLst>
                    <a:gs pos="0">
                      <a:srgbClr val="595959"/>
                    </a:gs>
                    <a:gs pos="86000">
                      <a:srgbClr val="595959"/>
                    </a:gs>
                  </a:gsLst>
                  <a:lin ang="5400000" scaled="0"/>
                </a:gradFill>
                <a:latin typeface="Segoe UI Light" pitchFamily="34" charset="0"/>
              </a:endParaRPr>
            </a:p>
            <a:p>
              <a:pPr marL="3175" lvl="0" defTabSz="914363">
                <a:lnSpc>
                  <a:spcPct val="90000"/>
                </a:lnSpc>
                <a:spcBef>
                  <a:spcPts val="600"/>
                </a:spcBef>
                <a:buSzPct val="80000"/>
              </a:pPr>
              <a:r>
                <a:rPr lang="en-US" sz="2600" spc="-100" dirty="0">
                  <a:gradFill>
                    <a:gsLst>
                      <a:gs pos="0">
                        <a:srgbClr val="595959"/>
                      </a:gs>
                      <a:gs pos="86000">
                        <a:srgbClr val="595959"/>
                      </a:gs>
                    </a:gsLst>
                    <a:lin ang="5400000" scaled="0"/>
                  </a:gradFill>
                  <a:latin typeface="Segoe UI Light" pitchFamily="34" charset="0"/>
                </a:rPr>
                <a:t>SPEAKER NAME/HANDLE HERE</a:t>
              </a:r>
            </a:p>
          </p:txBody>
        </p:sp>
        <p:sp>
          <p:nvSpPr>
            <p:cNvPr id="9" name="Freeform 13"/>
            <p:cNvSpPr>
              <a:spLocks noEditPoints="1"/>
            </p:cNvSpPr>
            <p:nvPr/>
          </p:nvSpPr>
          <p:spPr bwMode="black">
            <a:xfrm>
              <a:off x="1198380" y="1141414"/>
              <a:ext cx="1933123" cy="1645918"/>
            </a:xfrm>
            <a:custGeom>
              <a:avLst/>
              <a:gdLst>
                <a:gd name="T0" fmla="*/ 344 w 414"/>
                <a:gd name="T1" fmla="*/ 55 h 353"/>
                <a:gd name="T2" fmla="*/ 296 w 414"/>
                <a:gd name="T3" fmla="*/ 9 h 353"/>
                <a:gd name="T4" fmla="*/ 206 w 414"/>
                <a:gd name="T5" fmla="*/ 45 h 353"/>
                <a:gd name="T6" fmla="*/ 0 w 414"/>
                <a:gd name="T7" fmla="*/ 174 h 353"/>
                <a:gd name="T8" fmla="*/ 158 w 414"/>
                <a:gd name="T9" fmla="*/ 278 h 353"/>
                <a:gd name="T10" fmla="*/ 160 w 414"/>
                <a:gd name="T11" fmla="*/ 278 h 353"/>
                <a:gd name="T12" fmla="*/ 160 w 414"/>
                <a:gd name="T13" fmla="*/ 332 h 353"/>
                <a:gd name="T14" fmla="*/ 133 w 414"/>
                <a:gd name="T15" fmla="*/ 337 h 353"/>
                <a:gd name="T16" fmla="*/ 128 w 414"/>
                <a:gd name="T17" fmla="*/ 347 h 353"/>
                <a:gd name="T18" fmla="*/ 137 w 414"/>
                <a:gd name="T19" fmla="*/ 352 h 353"/>
                <a:gd name="T20" fmla="*/ 137 w 414"/>
                <a:gd name="T21" fmla="*/ 352 h 353"/>
                <a:gd name="T22" fmla="*/ 176 w 414"/>
                <a:gd name="T23" fmla="*/ 346 h 353"/>
                <a:gd name="T24" fmla="*/ 215 w 414"/>
                <a:gd name="T25" fmla="*/ 352 h 353"/>
                <a:gd name="T26" fmla="*/ 218 w 414"/>
                <a:gd name="T27" fmla="*/ 352 h 353"/>
                <a:gd name="T28" fmla="*/ 224 w 414"/>
                <a:gd name="T29" fmla="*/ 347 h 353"/>
                <a:gd name="T30" fmla="*/ 245 w 414"/>
                <a:gd name="T31" fmla="*/ 352 h 353"/>
                <a:gd name="T32" fmla="*/ 248 w 414"/>
                <a:gd name="T33" fmla="*/ 352 h 353"/>
                <a:gd name="T34" fmla="*/ 255 w 414"/>
                <a:gd name="T35" fmla="*/ 347 h 353"/>
                <a:gd name="T36" fmla="*/ 250 w 414"/>
                <a:gd name="T37" fmla="*/ 337 h 353"/>
                <a:gd name="T38" fmla="*/ 207 w 414"/>
                <a:gd name="T39" fmla="*/ 331 h 353"/>
                <a:gd name="T40" fmla="*/ 207 w 414"/>
                <a:gd name="T41" fmla="*/ 271 h 353"/>
                <a:gd name="T42" fmla="*/ 343 w 414"/>
                <a:gd name="T43" fmla="*/ 112 h 353"/>
                <a:gd name="T44" fmla="*/ 414 w 414"/>
                <a:gd name="T45" fmla="*/ 83 h 353"/>
                <a:gd name="T46" fmla="*/ 344 w 414"/>
                <a:gd name="T47" fmla="*/ 55 h 353"/>
                <a:gd name="T48" fmla="*/ 192 w 414"/>
                <a:gd name="T49" fmla="*/ 332 h 353"/>
                <a:gd name="T50" fmla="*/ 192 w 414"/>
                <a:gd name="T51" fmla="*/ 332 h 353"/>
                <a:gd name="T52" fmla="*/ 191 w 414"/>
                <a:gd name="T53" fmla="*/ 332 h 353"/>
                <a:gd name="T54" fmla="*/ 176 w 414"/>
                <a:gd name="T55" fmla="*/ 331 h 353"/>
                <a:gd name="T56" fmla="*/ 175 w 414"/>
                <a:gd name="T57" fmla="*/ 331 h 353"/>
                <a:gd name="T58" fmla="*/ 175 w 414"/>
                <a:gd name="T59" fmla="*/ 277 h 353"/>
                <a:gd name="T60" fmla="*/ 192 w 414"/>
                <a:gd name="T61" fmla="*/ 275 h 353"/>
                <a:gd name="T62" fmla="*/ 192 w 414"/>
                <a:gd name="T63" fmla="*/ 332 h 353"/>
                <a:gd name="T64" fmla="*/ 286 w 414"/>
                <a:gd name="T65" fmla="*/ 82 h 353"/>
                <a:gd name="T66" fmla="*/ 271 w 414"/>
                <a:gd name="T67" fmla="*/ 67 h 353"/>
                <a:gd name="T68" fmla="*/ 286 w 414"/>
                <a:gd name="T69" fmla="*/ 52 h 353"/>
                <a:gd name="T70" fmla="*/ 301 w 414"/>
                <a:gd name="T71" fmla="*/ 67 h 353"/>
                <a:gd name="T72" fmla="*/ 286 w 414"/>
                <a:gd name="T73" fmla="*/ 82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4" h="353">
                  <a:moveTo>
                    <a:pt x="344" y="55"/>
                  </a:moveTo>
                  <a:cubicBezTo>
                    <a:pt x="336" y="33"/>
                    <a:pt x="319" y="16"/>
                    <a:pt x="296" y="9"/>
                  </a:cubicBezTo>
                  <a:cubicBezTo>
                    <a:pt x="263" y="0"/>
                    <a:pt x="228" y="11"/>
                    <a:pt x="206" y="45"/>
                  </a:cubicBezTo>
                  <a:cubicBezTo>
                    <a:pt x="145" y="140"/>
                    <a:pt x="71" y="200"/>
                    <a:pt x="0" y="174"/>
                  </a:cubicBezTo>
                  <a:cubicBezTo>
                    <a:pt x="0" y="174"/>
                    <a:pt x="50" y="278"/>
                    <a:pt x="158" y="278"/>
                  </a:cubicBezTo>
                  <a:cubicBezTo>
                    <a:pt x="159" y="278"/>
                    <a:pt x="160" y="278"/>
                    <a:pt x="160" y="278"/>
                  </a:cubicBezTo>
                  <a:cubicBezTo>
                    <a:pt x="160" y="332"/>
                    <a:pt x="160" y="332"/>
                    <a:pt x="160" y="332"/>
                  </a:cubicBezTo>
                  <a:cubicBezTo>
                    <a:pt x="150" y="333"/>
                    <a:pt x="140" y="335"/>
                    <a:pt x="133" y="337"/>
                  </a:cubicBezTo>
                  <a:cubicBezTo>
                    <a:pt x="129" y="339"/>
                    <a:pt x="127" y="343"/>
                    <a:pt x="128" y="347"/>
                  </a:cubicBezTo>
                  <a:cubicBezTo>
                    <a:pt x="129" y="351"/>
                    <a:pt x="134" y="353"/>
                    <a:pt x="137" y="352"/>
                  </a:cubicBezTo>
                  <a:cubicBezTo>
                    <a:pt x="137" y="352"/>
                    <a:pt x="137" y="352"/>
                    <a:pt x="137" y="352"/>
                  </a:cubicBezTo>
                  <a:cubicBezTo>
                    <a:pt x="147" y="348"/>
                    <a:pt x="161" y="346"/>
                    <a:pt x="176" y="346"/>
                  </a:cubicBezTo>
                  <a:cubicBezTo>
                    <a:pt x="192" y="346"/>
                    <a:pt x="206" y="348"/>
                    <a:pt x="215" y="352"/>
                  </a:cubicBezTo>
                  <a:cubicBezTo>
                    <a:pt x="216" y="352"/>
                    <a:pt x="217" y="352"/>
                    <a:pt x="218" y="352"/>
                  </a:cubicBezTo>
                  <a:cubicBezTo>
                    <a:pt x="221" y="352"/>
                    <a:pt x="223" y="350"/>
                    <a:pt x="224" y="347"/>
                  </a:cubicBezTo>
                  <a:cubicBezTo>
                    <a:pt x="232" y="348"/>
                    <a:pt x="240" y="350"/>
                    <a:pt x="245" y="352"/>
                  </a:cubicBezTo>
                  <a:cubicBezTo>
                    <a:pt x="246" y="352"/>
                    <a:pt x="247" y="352"/>
                    <a:pt x="248" y="352"/>
                  </a:cubicBezTo>
                  <a:cubicBezTo>
                    <a:pt x="251" y="352"/>
                    <a:pt x="254" y="350"/>
                    <a:pt x="255" y="347"/>
                  </a:cubicBezTo>
                  <a:cubicBezTo>
                    <a:pt x="256" y="343"/>
                    <a:pt x="254" y="339"/>
                    <a:pt x="250" y="337"/>
                  </a:cubicBezTo>
                  <a:cubicBezTo>
                    <a:pt x="239" y="334"/>
                    <a:pt x="224" y="331"/>
                    <a:pt x="207" y="331"/>
                  </a:cubicBezTo>
                  <a:cubicBezTo>
                    <a:pt x="207" y="271"/>
                    <a:pt x="207" y="271"/>
                    <a:pt x="207" y="271"/>
                  </a:cubicBezTo>
                  <a:cubicBezTo>
                    <a:pt x="283" y="251"/>
                    <a:pt x="323" y="185"/>
                    <a:pt x="343" y="112"/>
                  </a:cubicBezTo>
                  <a:cubicBezTo>
                    <a:pt x="414" y="83"/>
                    <a:pt x="414" y="83"/>
                    <a:pt x="414" y="83"/>
                  </a:cubicBezTo>
                  <a:lnTo>
                    <a:pt x="344" y="55"/>
                  </a:lnTo>
                  <a:close/>
                  <a:moveTo>
                    <a:pt x="192" y="332"/>
                  </a:moveTo>
                  <a:cubicBezTo>
                    <a:pt x="192" y="332"/>
                    <a:pt x="192" y="332"/>
                    <a:pt x="192" y="332"/>
                  </a:cubicBezTo>
                  <a:cubicBezTo>
                    <a:pt x="192" y="332"/>
                    <a:pt x="192" y="332"/>
                    <a:pt x="191" y="332"/>
                  </a:cubicBezTo>
                  <a:cubicBezTo>
                    <a:pt x="187" y="331"/>
                    <a:pt x="181" y="331"/>
                    <a:pt x="176" y="331"/>
                  </a:cubicBezTo>
                  <a:cubicBezTo>
                    <a:pt x="176" y="331"/>
                    <a:pt x="176" y="331"/>
                    <a:pt x="175" y="331"/>
                  </a:cubicBezTo>
                  <a:cubicBezTo>
                    <a:pt x="175" y="277"/>
                    <a:pt x="175" y="277"/>
                    <a:pt x="175" y="277"/>
                  </a:cubicBezTo>
                  <a:cubicBezTo>
                    <a:pt x="181" y="276"/>
                    <a:pt x="187" y="276"/>
                    <a:pt x="192" y="275"/>
                  </a:cubicBezTo>
                  <a:lnTo>
                    <a:pt x="192" y="332"/>
                  </a:lnTo>
                  <a:close/>
                  <a:moveTo>
                    <a:pt x="286" y="82"/>
                  </a:moveTo>
                  <a:cubicBezTo>
                    <a:pt x="278" y="82"/>
                    <a:pt x="271" y="75"/>
                    <a:pt x="271" y="67"/>
                  </a:cubicBezTo>
                  <a:cubicBezTo>
                    <a:pt x="271" y="59"/>
                    <a:pt x="278" y="52"/>
                    <a:pt x="286" y="52"/>
                  </a:cubicBezTo>
                  <a:cubicBezTo>
                    <a:pt x="294" y="52"/>
                    <a:pt x="301" y="59"/>
                    <a:pt x="301" y="67"/>
                  </a:cubicBezTo>
                  <a:cubicBezTo>
                    <a:pt x="301" y="75"/>
                    <a:pt x="294" y="82"/>
                    <a:pt x="286" y="82"/>
                  </a:cubicBezTo>
                  <a:close/>
                </a:path>
              </a:pathLst>
            </a:custGeom>
            <a:solidFill>
              <a:schemeClr val="bg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a:solidFill>
                  <a:schemeClr val="tx1">
                    <a:lumMod val="50000"/>
                  </a:schemeClr>
                </a:solidFill>
                <a:latin typeface="Segoe Light" pitchFamily="34" charset="0"/>
              </a:endParaRPr>
            </a:p>
          </p:txBody>
        </p:sp>
      </p:grpSp>
      <p:grpSp>
        <p:nvGrpSpPr>
          <p:cNvPr id="17" name="Group 16"/>
          <p:cNvGrpSpPr/>
          <p:nvPr/>
        </p:nvGrpSpPr>
        <p:grpSpPr>
          <a:xfrm>
            <a:off x="-1" y="2872740"/>
            <a:ext cx="11681814" cy="1645920"/>
            <a:chOff x="-1" y="2872740"/>
            <a:chExt cx="11681814" cy="1645920"/>
          </a:xfrm>
        </p:grpSpPr>
        <p:sp>
          <p:nvSpPr>
            <p:cNvPr id="5" name="Rectangle 4"/>
            <p:cNvSpPr/>
            <p:nvPr/>
          </p:nvSpPr>
          <p:spPr bwMode="auto">
            <a:xfrm>
              <a:off x="-1" y="2872740"/>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0" name="Freeform 166"/>
            <p:cNvSpPr>
              <a:spLocks noEditPoints="1"/>
            </p:cNvSpPr>
            <p:nvPr/>
          </p:nvSpPr>
          <p:spPr bwMode="black">
            <a:xfrm>
              <a:off x="1307544" y="2996848"/>
              <a:ext cx="1434068" cy="1388936"/>
            </a:xfrm>
            <a:custGeom>
              <a:avLst/>
              <a:gdLst>
                <a:gd name="T0" fmla="*/ 511 w 538"/>
                <a:gd name="T1" fmla="*/ 164 h 521"/>
                <a:gd name="T2" fmla="*/ 509 w 538"/>
                <a:gd name="T3" fmla="*/ 31 h 521"/>
                <a:gd name="T4" fmla="*/ 322 w 538"/>
                <a:gd name="T5" fmla="*/ 47 h 521"/>
                <a:gd name="T6" fmla="*/ 312 w 538"/>
                <a:gd name="T7" fmla="*/ 46 h 521"/>
                <a:gd name="T8" fmla="*/ 160 w 538"/>
                <a:gd name="T9" fmla="*/ 104 h 521"/>
                <a:gd name="T10" fmla="*/ 89 w 538"/>
                <a:gd name="T11" fmla="*/ 222 h 521"/>
                <a:gd name="T12" fmla="*/ 192 w 538"/>
                <a:gd name="T13" fmla="*/ 132 h 521"/>
                <a:gd name="T14" fmla="*/ 206 w 538"/>
                <a:gd name="T15" fmla="*/ 125 h 521"/>
                <a:gd name="T16" fmla="*/ 176 w 538"/>
                <a:gd name="T17" fmla="*/ 153 h 521"/>
                <a:gd name="T18" fmla="*/ 50 w 538"/>
                <a:gd name="T19" fmla="*/ 488 h 521"/>
                <a:gd name="T20" fmla="*/ 213 w 538"/>
                <a:gd name="T21" fmla="*/ 475 h 521"/>
                <a:gd name="T22" fmla="*/ 312 w 538"/>
                <a:gd name="T23" fmla="*/ 496 h 521"/>
                <a:gd name="T24" fmla="*/ 441 w 538"/>
                <a:gd name="T25" fmla="*/ 458 h 521"/>
                <a:gd name="T26" fmla="*/ 526 w 538"/>
                <a:gd name="T27" fmla="*/ 348 h 521"/>
                <a:gd name="T28" fmla="*/ 403 w 538"/>
                <a:gd name="T29" fmla="*/ 348 h 521"/>
                <a:gd name="T30" fmla="*/ 313 w 538"/>
                <a:gd name="T31" fmla="*/ 399 h 521"/>
                <a:gd name="T32" fmla="*/ 215 w 538"/>
                <a:gd name="T33" fmla="*/ 304 h 521"/>
                <a:gd name="T34" fmla="*/ 215 w 538"/>
                <a:gd name="T35" fmla="*/ 302 h 521"/>
                <a:gd name="T36" fmla="*/ 214 w 538"/>
                <a:gd name="T37" fmla="*/ 299 h 521"/>
                <a:gd name="T38" fmla="*/ 217 w 538"/>
                <a:gd name="T39" fmla="*/ 299 h 521"/>
                <a:gd name="T40" fmla="*/ 535 w 538"/>
                <a:gd name="T41" fmla="*/ 299 h 521"/>
                <a:gd name="T42" fmla="*/ 535 w 538"/>
                <a:gd name="T43" fmla="*/ 294 h 521"/>
                <a:gd name="T44" fmla="*/ 537 w 538"/>
                <a:gd name="T45" fmla="*/ 270 h 521"/>
                <a:gd name="T46" fmla="*/ 511 w 538"/>
                <a:gd name="T47" fmla="*/ 164 h 521"/>
                <a:gd name="T48" fmla="*/ 85 w 538"/>
                <a:gd name="T49" fmla="*/ 479 h 521"/>
                <a:gd name="T50" fmla="*/ 98 w 538"/>
                <a:gd name="T51" fmla="*/ 346 h 521"/>
                <a:gd name="T52" fmla="*/ 166 w 538"/>
                <a:gd name="T53" fmla="*/ 446 h 521"/>
                <a:gd name="T54" fmla="*/ 197 w 538"/>
                <a:gd name="T55" fmla="*/ 467 h 521"/>
                <a:gd name="T56" fmla="*/ 85 w 538"/>
                <a:gd name="T57" fmla="*/ 479 h 521"/>
                <a:gd name="T58" fmla="*/ 204 w 538"/>
                <a:gd name="T59" fmla="*/ 471 h 521"/>
                <a:gd name="T60" fmla="*/ 205 w 538"/>
                <a:gd name="T61" fmla="*/ 472 h 521"/>
                <a:gd name="T62" fmla="*/ 204 w 538"/>
                <a:gd name="T63" fmla="*/ 471 h 521"/>
                <a:gd name="T64" fmla="*/ 409 w 538"/>
                <a:gd name="T65" fmla="*/ 239 h 521"/>
                <a:gd name="T66" fmla="*/ 217 w 538"/>
                <a:gd name="T67" fmla="*/ 239 h 521"/>
                <a:gd name="T68" fmla="*/ 215 w 538"/>
                <a:gd name="T69" fmla="*/ 239 h 521"/>
                <a:gd name="T70" fmla="*/ 215 w 538"/>
                <a:gd name="T71" fmla="*/ 237 h 521"/>
                <a:gd name="T72" fmla="*/ 316 w 538"/>
                <a:gd name="T73" fmla="*/ 146 h 521"/>
                <a:gd name="T74" fmla="*/ 411 w 538"/>
                <a:gd name="T75" fmla="*/ 237 h 521"/>
                <a:gd name="T76" fmla="*/ 411 w 538"/>
                <a:gd name="T77" fmla="*/ 239 h 521"/>
                <a:gd name="T78" fmla="*/ 409 w 538"/>
                <a:gd name="T79" fmla="*/ 239 h 521"/>
                <a:gd name="T80" fmla="*/ 468 w 538"/>
                <a:gd name="T81" fmla="*/ 108 h 521"/>
                <a:gd name="T82" fmla="*/ 392 w 538"/>
                <a:gd name="T83" fmla="*/ 61 h 521"/>
                <a:gd name="T84" fmla="*/ 507 w 538"/>
                <a:gd name="T85" fmla="*/ 57 h 521"/>
                <a:gd name="T86" fmla="*/ 504 w 538"/>
                <a:gd name="T87" fmla="*/ 152 h 521"/>
                <a:gd name="T88" fmla="*/ 504 w 538"/>
                <a:gd name="T89" fmla="*/ 152 h 521"/>
                <a:gd name="T90" fmla="*/ 468 w 538"/>
                <a:gd name="T91" fmla="*/ 108 h 521"/>
                <a:gd name="T92" fmla="*/ 508 w 538"/>
                <a:gd name="T93" fmla="*/ 158 h 521"/>
                <a:gd name="T94" fmla="*/ 508 w 538"/>
                <a:gd name="T95" fmla="*/ 158 h 521"/>
                <a:gd name="T96" fmla="*/ 508 w 538"/>
                <a:gd name="T97" fmla="*/ 158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38" h="521">
                  <a:moveTo>
                    <a:pt x="511" y="164"/>
                  </a:moveTo>
                  <a:cubicBezTo>
                    <a:pt x="536" y="107"/>
                    <a:pt x="538" y="60"/>
                    <a:pt x="509" y="31"/>
                  </a:cubicBezTo>
                  <a:cubicBezTo>
                    <a:pt x="478" y="0"/>
                    <a:pt x="402" y="9"/>
                    <a:pt x="322" y="47"/>
                  </a:cubicBezTo>
                  <a:cubicBezTo>
                    <a:pt x="319" y="47"/>
                    <a:pt x="315" y="46"/>
                    <a:pt x="312" y="46"/>
                  </a:cubicBezTo>
                  <a:cubicBezTo>
                    <a:pt x="256" y="46"/>
                    <a:pt x="201" y="67"/>
                    <a:pt x="160" y="104"/>
                  </a:cubicBezTo>
                  <a:cubicBezTo>
                    <a:pt x="125" y="135"/>
                    <a:pt x="100" y="176"/>
                    <a:pt x="89" y="222"/>
                  </a:cubicBezTo>
                  <a:cubicBezTo>
                    <a:pt x="97" y="212"/>
                    <a:pt x="142" y="160"/>
                    <a:pt x="192" y="132"/>
                  </a:cubicBezTo>
                  <a:cubicBezTo>
                    <a:pt x="193" y="132"/>
                    <a:pt x="205" y="125"/>
                    <a:pt x="206" y="125"/>
                  </a:cubicBezTo>
                  <a:cubicBezTo>
                    <a:pt x="206" y="125"/>
                    <a:pt x="181" y="148"/>
                    <a:pt x="176" y="153"/>
                  </a:cubicBezTo>
                  <a:cubicBezTo>
                    <a:pt x="65" y="265"/>
                    <a:pt x="0" y="437"/>
                    <a:pt x="50" y="488"/>
                  </a:cubicBezTo>
                  <a:cubicBezTo>
                    <a:pt x="83" y="521"/>
                    <a:pt x="143" y="513"/>
                    <a:pt x="213" y="475"/>
                  </a:cubicBezTo>
                  <a:cubicBezTo>
                    <a:pt x="243" y="489"/>
                    <a:pt x="276" y="496"/>
                    <a:pt x="312" y="496"/>
                  </a:cubicBezTo>
                  <a:cubicBezTo>
                    <a:pt x="359" y="496"/>
                    <a:pt x="404" y="483"/>
                    <a:pt x="441" y="458"/>
                  </a:cubicBezTo>
                  <a:cubicBezTo>
                    <a:pt x="480" y="433"/>
                    <a:pt x="509" y="394"/>
                    <a:pt x="526" y="348"/>
                  </a:cubicBezTo>
                  <a:cubicBezTo>
                    <a:pt x="403" y="348"/>
                    <a:pt x="403" y="348"/>
                    <a:pt x="403" y="348"/>
                  </a:cubicBezTo>
                  <a:cubicBezTo>
                    <a:pt x="388" y="378"/>
                    <a:pt x="351" y="399"/>
                    <a:pt x="313" y="399"/>
                  </a:cubicBezTo>
                  <a:cubicBezTo>
                    <a:pt x="260" y="399"/>
                    <a:pt x="215" y="355"/>
                    <a:pt x="215" y="304"/>
                  </a:cubicBezTo>
                  <a:cubicBezTo>
                    <a:pt x="215" y="302"/>
                    <a:pt x="215" y="302"/>
                    <a:pt x="215" y="302"/>
                  </a:cubicBezTo>
                  <a:cubicBezTo>
                    <a:pt x="214" y="299"/>
                    <a:pt x="214" y="299"/>
                    <a:pt x="214" y="299"/>
                  </a:cubicBezTo>
                  <a:cubicBezTo>
                    <a:pt x="217" y="299"/>
                    <a:pt x="217" y="299"/>
                    <a:pt x="217" y="299"/>
                  </a:cubicBezTo>
                  <a:cubicBezTo>
                    <a:pt x="535" y="299"/>
                    <a:pt x="535" y="299"/>
                    <a:pt x="535" y="299"/>
                  </a:cubicBezTo>
                  <a:cubicBezTo>
                    <a:pt x="535" y="298"/>
                    <a:pt x="535" y="296"/>
                    <a:pt x="535" y="294"/>
                  </a:cubicBezTo>
                  <a:cubicBezTo>
                    <a:pt x="536" y="286"/>
                    <a:pt x="537" y="277"/>
                    <a:pt x="537" y="270"/>
                  </a:cubicBezTo>
                  <a:cubicBezTo>
                    <a:pt x="537" y="232"/>
                    <a:pt x="528" y="196"/>
                    <a:pt x="511" y="164"/>
                  </a:cubicBezTo>
                  <a:close/>
                  <a:moveTo>
                    <a:pt x="85" y="479"/>
                  </a:moveTo>
                  <a:cubicBezTo>
                    <a:pt x="60" y="454"/>
                    <a:pt x="67" y="405"/>
                    <a:pt x="98" y="346"/>
                  </a:cubicBezTo>
                  <a:cubicBezTo>
                    <a:pt x="113" y="386"/>
                    <a:pt x="136" y="420"/>
                    <a:pt x="166" y="446"/>
                  </a:cubicBezTo>
                  <a:cubicBezTo>
                    <a:pt x="176" y="454"/>
                    <a:pt x="186" y="461"/>
                    <a:pt x="197" y="467"/>
                  </a:cubicBezTo>
                  <a:cubicBezTo>
                    <a:pt x="147" y="494"/>
                    <a:pt x="106" y="500"/>
                    <a:pt x="85" y="479"/>
                  </a:cubicBezTo>
                  <a:close/>
                  <a:moveTo>
                    <a:pt x="204" y="471"/>
                  </a:moveTo>
                  <a:cubicBezTo>
                    <a:pt x="204" y="471"/>
                    <a:pt x="205" y="471"/>
                    <a:pt x="205" y="472"/>
                  </a:cubicBezTo>
                  <a:cubicBezTo>
                    <a:pt x="205" y="471"/>
                    <a:pt x="204" y="471"/>
                    <a:pt x="204" y="471"/>
                  </a:cubicBezTo>
                  <a:close/>
                  <a:moveTo>
                    <a:pt x="409" y="239"/>
                  </a:moveTo>
                  <a:cubicBezTo>
                    <a:pt x="217" y="239"/>
                    <a:pt x="217" y="239"/>
                    <a:pt x="217" y="239"/>
                  </a:cubicBezTo>
                  <a:cubicBezTo>
                    <a:pt x="215" y="239"/>
                    <a:pt x="215" y="239"/>
                    <a:pt x="215" y="239"/>
                  </a:cubicBezTo>
                  <a:cubicBezTo>
                    <a:pt x="215" y="237"/>
                    <a:pt x="215" y="237"/>
                    <a:pt x="215" y="237"/>
                  </a:cubicBezTo>
                  <a:cubicBezTo>
                    <a:pt x="217" y="188"/>
                    <a:pt x="264" y="146"/>
                    <a:pt x="316" y="146"/>
                  </a:cubicBezTo>
                  <a:cubicBezTo>
                    <a:pt x="367" y="146"/>
                    <a:pt x="408" y="186"/>
                    <a:pt x="411" y="237"/>
                  </a:cubicBezTo>
                  <a:cubicBezTo>
                    <a:pt x="411" y="239"/>
                    <a:pt x="411" y="239"/>
                    <a:pt x="411" y="239"/>
                  </a:cubicBezTo>
                  <a:lnTo>
                    <a:pt x="409" y="239"/>
                  </a:lnTo>
                  <a:close/>
                  <a:moveTo>
                    <a:pt x="468" y="108"/>
                  </a:moveTo>
                  <a:cubicBezTo>
                    <a:pt x="446" y="87"/>
                    <a:pt x="420" y="72"/>
                    <a:pt x="392" y="61"/>
                  </a:cubicBezTo>
                  <a:cubicBezTo>
                    <a:pt x="443" y="38"/>
                    <a:pt x="485" y="35"/>
                    <a:pt x="507" y="57"/>
                  </a:cubicBezTo>
                  <a:cubicBezTo>
                    <a:pt x="525" y="75"/>
                    <a:pt x="523" y="109"/>
                    <a:pt x="504" y="152"/>
                  </a:cubicBezTo>
                  <a:cubicBezTo>
                    <a:pt x="504" y="152"/>
                    <a:pt x="504" y="152"/>
                    <a:pt x="504" y="152"/>
                  </a:cubicBezTo>
                  <a:cubicBezTo>
                    <a:pt x="494" y="136"/>
                    <a:pt x="482" y="121"/>
                    <a:pt x="468" y="108"/>
                  </a:cubicBezTo>
                  <a:close/>
                  <a:moveTo>
                    <a:pt x="508" y="158"/>
                  </a:moveTo>
                  <a:cubicBezTo>
                    <a:pt x="508" y="158"/>
                    <a:pt x="508" y="158"/>
                    <a:pt x="508" y="158"/>
                  </a:cubicBezTo>
                  <a:cubicBezTo>
                    <a:pt x="508" y="158"/>
                    <a:pt x="508" y="158"/>
                    <a:pt x="508" y="1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Rectangle 10"/>
            <p:cNvSpPr/>
            <p:nvPr/>
          </p:nvSpPr>
          <p:spPr>
            <a:xfrm>
              <a:off x="3643911" y="2872740"/>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Website: </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a:gradFill>
                    <a:gsLst>
                      <a:gs pos="0">
                        <a:srgbClr val="595959"/>
                      </a:gs>
                      <a:gs pos="86000">
                        <a:srgbClr val="595959"/>
                      </a:gs>
                    </a:gsLst>
                    <a:lin ang="5400000" scaled="0"/>
                  </a:gradFill>
                  <a:latin typeface="Segoe UI Light" pitchFamily="34" charset="0"/>
                </a:rPr>
                <a:t>http://www.devcamps.ms/web</a:t>
              </a:r>
            </a:p>
          </p:txBody>
        </p:sp>
        <p:pic>
          <p:nvPicPr>
            <p:cNvPr id="13" name="Picture 2"/>
            <p:cNvPicPr>
              <a:picLocks noChangeAspect="1" noChangeArrowheads="1"/>
            </p:cNvPicPr>
            <p:nvPr/>
          </p:nvPicPr>
          <p:blipFill>
            <a:blip r:embed="rId2" cstate="print">
              <a:extLst>
                <a:ext uri="{28A0092B-C50C-407E-A947-70E740481C1C}">
                  <a14:useLocalDpi xmlns:a14="http://schemas.microsoft.com/office/drawing/2010/main" val="0"/>
                </a:ext>
              </a:extLst>
            </a:blip>
            <a:stretch>
              <a:fillRect/>
            </a:stretch>
          </p:blipFill>
          <p:spPr bwMode="auto">
            <a:xfrm>
              <a:off x="9361067" y="2872740"/>
              <a:ext cx="2320746" cy="164591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8" name="Group 17"/>
          <p:cNvGrpSpPr/>
          <p:nvPr/>
        </p:nvGrpSpPr>
        <p:grpSpPr>
          <a:xfrm>
            <a:off x="-1" y="4604068"/>
            <a:ext cx="11681814" cy="1645920"/>
            <a:chOff x="-1" y="4604068"/>
            <a:chExt cx="11681814" cy="1645920"/>
          </a:xfrm>
        </p:grpSpPr>
        <p:sp>
          <p:nvSpPr>
            <p:cNvPr id="6" name="Rectangle 5"/>
            <p:cNvSpPr/>
            <p:nvPr/>
          </p:nvSpPr>
          <p:spPr bwMode="auto">
            <a:xfrm>
              <a:off x="-1" y="4604068"/>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2" name="Rectangle 11"/>
            <p:cNvSpPr/>
            <p:nvPr/>
          </p:nvSpPr>
          <p:spPr>
            <a:xfrm>
              <a:off x="3657599" y="4604068"/>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What are web camps?</a:t>
              </a:r>
            </a:p>
            <a:p>
              <a:pPr marL="3175" lvl="0" defTabSz="914363">
                <a:lnSpc>
                  <a:spcPct val="90000"/>
                </a:lnSpc>
                <a:spcBef>
                  <a:spcPts val="600"/>
                </a:spcBef>
                <a:buSzPct val="80000"/>
              </a:pPr>
              <a:r>
                <a:rPr lang="en-US" sz="2000" spc="-100" dirty="0">
                  <a:gradFill>
                    <a:gsLst>
                      <a:gs pos="0">
                        <a:srgbClr val="595959"/>
                      </a:gs>
                      <a:gs pos="86000">
                        <a:srgbClr val="595959"/>
                      </a:gs>
                    </a:gsLst>
                    <a:lin ang="5400000" scaled="0"/>
                  </a:gradFill>
                  <a:latin typeface="Segoe UI Light" pitchFamily="34" charset="0"/>
                </a:rPr>
                <a:t>Web Developer Camps are free, fun, no-fluff events for developers, </a:t>
              </a:r>
              <a:r>
                <a:rPr lang="en-US" sz="2000" spc="-100" dirty="0" smtClean="0">
                  <a:gradFill>
                    <a:gsLst>
                      <a:gs pos="0">
                        <a:srgbClr val="595959"/>
                      </a:gs>
                      <a:gs pos="86000">
                        <a:srgbClr val="595959"/>
                      </a:gs>
                    </a:gsLst>
                    <a:lin ang="5400000" scaled="0"/>
                  </a:gradFill>
                  <a:latin typeface="Segoe UI Light" pitchFamily="34" charset="0"/>
                </a:rPr>
                <a:t/>
              </a:r>
              <a:br>
                <a:rPr lang="en-US" sz="2000" spc="-100" dirty="0" smtClean="0">
                  <a:gradFill>
                    <a:gsLst>
                      <a:gs pos="0">
                        <a:srgbClr val="595959"/>
                      </a:gs>
                      <a:gs pos="86000">
                        <a:srgbClr val="595959"/>
                      </a:gs>
                    </a:gsLst>
                    <a:lin ang="5400000" scaled="0"/>
                  </a:gradFill>
                  <a:latin typeface="Segoe UI Light" pitchFamily="34" charset="0"/>
                </a:rPr>
              </a:br>
              <a:r>
                <a:rPr lang="en-US" sz="2000" spc="-100" dirty="0" smtClean="0">
                  <a:gradFill>
                    <a:gsLst>
                      <a:gs pos="0">
                        <a:srgbClr val="595959"/>
                      </a:gs>
                      <a:gs pos="86000">
                        <a:srgbClr val="595959"/>
                      </a:gs>
                    </a:gsLst>
                    <a:lin ang="5400000" scaled="0"/>
                  </a:gradFill>
                  <a:latin typeface="Segoe UI Light" pitchFamily="34" charset="0"/>
                </a:rPr>
                <a:t>by </a:t>
              </a:r>
              <a:r>
                <a:rPr lang="en-US" sz="2000" spc="-100" dirty="0">
                  <a:gradFill>
                    <a:gsLst>
                      <a:gs pos="0">
                        <a:srgbClr val="595959"/>
                      </a:gs>
                      <a:gs pos="86000">
                        <a:srgbClr val="595959"/>
                      </a:gs>
                    </a:gsLst>
                    <a:lin ang="5400000" scaled="0"/>
                  </a:gradFill>
                  <a:latin typeface="Segoe UI Light" pitchFamily="34" charset="0"/>
                </a:rPr>
                <a:t>developers. You learn from experts in a low-key, interactive way </a:t>
              </a:r>
              <a:r>
                <a:rPr lang="en-US" sz="2000" spc="-100" dirty="0" smtClean="0">
                  <a:gradFill>
                    <a:gsLst>
                      <a:gs pos="0">
                        <a:srgbClr val="595959"/>
                      </a:gs>
                      <a:gs pos="86000">
                        <a:srgbClr val="595959"/>
                      </a:gs>
                    </a:gsLst>
                    <a:lin ang="5400000" scaled="0"/>
                  </a:gradFill>
                  <a:latin typeface="Segoe UI Light" pitchFamily="34" charset="0"/>
                </a:rPr>
                <a:t/>
              </a:r>
              <a:br>
                <a:rPr lang="en-US" sz="2000" spc="-100" dirty="0" smtClean="0">
                  <a:gradFill>
                    <a:gsLst>
                      <a:gs pos="0">
                        <a:srgbClr val="595959"/>
                      </a:gs>
                      <a:gs pos="86000">
                        <a:srgbClr val="595959"/>
                      </a:gs>
                    </a:gsLst>
                    <a:lin ang="5400000" scaled="0"/>
                  </a:gradFill>
                  <a:latin typeface="Segoe UI Light" pitchFamily="34" charset="0"/>
                </a:rPr>
              </a:br>
              <a:r>
                <a:rPr lang="en-US" sz="2000" spc="-100" dirty="0" smtClean="0">
                  <a:gradFill>
                    <a:gsLst>
                      <a:gs pos="0">
                        <a:srgbClr val="595959"/>
                      </a:gs>
                      <a:gs pos="86000">
                        <a:srgbClr val="595959"/>
                      </a:gs>
                    </a:gsLst>
                    <a:lin ang="5400000" scaled="0"/>
                  </a:gradFill>
                  <a:latin typeface="Segoe UI Light" pitchFamily="34" charset="0"/>
                </a:rPr>
                <a:t>and </a:t>
              </a:r>
              <a:r>
                <a:rPr lang="en-US" sz="2000" spc="-100" dirty="0">
                  <a:gradFill>
                    <a:gsLst>
                      <a:gs pos="0">
                        <a:srgbClr val="595959"/>
                      </a:gs>
                      <a:gs pos="86000">
                        <a:srgbClr val="595959"/>
                      </a:gs>
                    </a:gsLst>
                    <a:lin ang="5400000" scaled="0"/>
                  </a:gradFill>
                  <a:latin typeface="Segoe UI Light" pitchFamily="34" charset="0"/>
                </a:rPr>
                <a:t>then get hands-on time to apply what you’ve learned.</a:t>
              </a:r>
            </a:p>
          </p:txBody>
        </p:sp>
        <p:pic>
          <p:nvPicPr>
            <p:cNvPr id="14" name="Picture 1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3201" y="5161048"/>
              <a:ext cx="2491812" cy="531960"/>
            </a:xfrm>
            <a:prstGeom prst="rect">
              <a:avLst/>
            </a:prstGeom>
          </p:spPr>
        </p:pic>
      </p:grpSp>
    </p:spTree>
    <p:extLst>
      <p:ext uri="{BB962C8B-B14F-4D97-AF65-F5344CB8AC3E}">
        <p14:creationId xmlns:p14="http://schemas.microsoft.com/office/powerpoint/2010/main" val="47753694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1000"/>
                                        <p:tgtEl>
                                          <p:spTgt spid="16"/>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17"/>
                                        </p:tgtEl>
                                        <p:attrNameLst>
                                          <p:attrName>style.visibility</p:attrName>
                                        </p:attrNameLst>
                                      </p:cBhvr>
                                      <p:to>
                                        <p:strVal val="visible"/>
                                      </p:to>
                                    </p:set>
                                    <p:animEffect transition="in" filter="fade">
                                      <p:cBhvr>
                                        <p:cTn id="11" dur="1000"/>
                                        <p:tgtEl>
                                          <p:spTgt spid="17"/>
                                        </p:tgtEl>
                                      </p:cBhvr>
                                    </p:animEffect>
                                  </p:childTnLst>
                                </p:cTn>
                              </p:par>
                            </p:childTnLst>
                          </p:cTn>
                        </p:par>
                        <p:par>
                          <p:cTn id="12" fill="hold">
                            <p:stCondLst>
                              <p:cond delay="2000"/>
                            </p:stCondLst>
                            <p:childTnLst>
                              <p:par>
                                <p:cTn id="13" presetID="10" presetClass="entr" presetSubtype="0" fill="hold" nodeType="afterEffect">
                                  <p:stCondLst>
                                    <p:cond delay="0"/>
                                  </p:stCondLst>
                                  <p:childTnLst>
                                    <p:set>
                                      <p:cBhvr>
                                        <p:cTn id="14" dur="1" fill="hold">
                                          <p:stCondLst>
                                            <p:cond delay="0"/>
                                          </p:stCondLst>
                                        </p:cTn>
                                        <p:tgtEl>
                                          <p:spTgt spid="18"/>
                                        </p:tgtEl>
                                        <p:attrNameLst>
                                          <p:attrName>style.visibility</p:attrName>
                                        </p:attrNameLst>
                                      </p:cBhvr>
                                      <p:to>
                                        <p:strVal val="visible"/>
                                      </p:to>
                                    </p:set>
                                    <p:animEffect transition="in" filter="fade">
                                      <p:cBhvr>
                                        <p:cTn id="15" dur="10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2126522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7399"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5" name="Title 4"/>
          <p:cNvSpPr>
            <a:spLocks noGrp="1"/>
          </p:cNvSpPr>
          <p:nvPr>
            <p:ph type="title"/>
          </p:nvPr>
        </p:nvSpPr>
        <p:spPr/>
        <p:txBody>
          <a:bodyPr/>
          <a:lstStyle/>
          <a:p>
            <a:r>
              <a:rPr lang="en-US" smtClean="0"/>
              <a:t>Resources</a:t>
            </a:r>
            <a:endParaRPr lang="en-US" dirty="0"/>
          </a:p>
        </p:txBody>
      </p:sp>
      <p:sp>
        <p:nvSpPr>
          <p:cNvPr id="3" name="Text Placeholder 2"/>
          <p:cNvSpPr>
            <a:spLocks noGrp="1"/>
          </p:cNvSpPr>
          <p:nvPr>
            <p:ph type="body" sz="quarter" idx="10"/>
            <p:custDataLst>
              <p:tags r:id="rId3"/>
            </p:custDataLst>
          </p:nvPr>
        </p:nvSpPr>
        <p:spPr>
          <a:xfrm>
            <a:off x="519112" y="1447799"/>
            <a:ext cx="11149013" cy="1052596"/>
          </a:xfrm>
        </p:spPr>
        <p:txBody>
          <a:bodyPr/>
          <a:lstStyle/>
          <a:p>
            <a:pPr>
              <a:spcAft>
                <a:spcPts val="1200"/>
              </a:spcAft>
            </a:pPr>
            <a:r>
              <a:rPr lang="en-US" sz="4400" dirty="0" smtClean="0">
                <a:ln w="3175">
                  <a:noFill/>
                </a:ln>
                <a:gradFill flip="none" rotWithShape="1">
                  <a:gsLst>
                    <a:gs pos="0">
                      <a:srgbClr val="595959"/>
                    </a:gs>
                    <a:gs pos="86000">
                      <a:srgbClr val="595959"/>
                    </a:gs>
                  </a:gsLst>
                  <a:lin ang="5400000" scaled="0"/>
                  <a:tileRect/>
                </a:gradFill>
                <a:cs typeface="Arial" charset="0"/>
              </a:rPr>
              <a:t>Feedback and questions </a:t>
            </a:r>
            <a:r>
              <a:rPr lang="en-US" dirty="0" smtClean="0"/>
              <a:t/>
            </a:r>
            <a:br>
              <a:rPr lang="en-US" dirty="0" smtClean="0"/>
            </a:br>
            <a:r>
              <a:rPr lang="en-US" sz="3200" dirty="0" smtClean="0">
                <a:latin typeface="+mn-lt"/>
                <a:hlinkClick r:id="rId8"/>
              </a:rPr>
              <a:t>http://forums.dev.windows.com</a:t>
            </a:r>
            <a:endParaRPr lang="en-US" sz="3200" dirty="0">
              <a:latin typeface="+mn-lt"/>
            </a:endParaRPr>
          </a:p>
        </p:txBody>
      </p:sp>
      <p:sp>
        <p:nvSpPr>
          <p:cNvPr id="8" name="Freeform 58"/>
          <p:cNvSpPr>
            <a:spLocks noEditPoints="1"/>
          </p:cNvSpPr>
          <p:nvPr/>
        </p:nvSpPr>
        <p:spPr bwMode="black">
          <a:xfrm>
            <a:off x="7196409" y="1141413"/>
            <a:ext cx="3689695" cy="3954680"/>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chemeClr val="tx1">
              <a:lumMod val="10000"/>
              <a:lumOff val="90000"/>
            </a:schemeClr>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26875246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85946123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8420"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Tree>
    <p:extLst>
      <p:ext uri="{BB962C8B-B14F-4D97-AF65-F5344CB8AC3E}">
        <p14:creationId xmlns:p14="http://schemas.microsoft.com/office/powerpoint/2010/main" val="18470829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89413592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9441"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6" name="Title 5"/>
          <p:cNvSpPr>
            <a:spLocks noGrp="1"/>
          </p:cNvSpPr>
          <p:nvPr>
            <p:ph type="ctrTitle"/>
          </p:nvPr>
        </p:nvSpPr>
        <p:spPr/>
        <p:txBody>
          <a:bodyPr/>
          <a:lstStyle/>
          <a:p>
            <a:r>
              <a:rPr lang="en-US" sz="6000" dirty="0" smtClean="0"/>
              <a:t>Welcome Back to the Microsoft </a:t>
            </a:r>
            <a:r>
              <a:rPr lang="en-US" sz="6000" smtClean="0"/>
              <a:t>Web Stack</a:t>
            </a:r>
            <a:endParaRPr lang="en-US" sz="6000" dirty="0"/>
          </a:p>
        </p:txBody>
      </p:sp>
      <p:sp>
        <p:nvSpPr>
          <p:cNvPr id="7" name="Text Placeholder 6"/>
          <p:cNvSpPr>
            <a:spLocks noGrp="1"/>
          </p:cNvSpPr>
          <p:nvPr>
            <p:ph type="body" sz="quarter" idx="11"/>
          </p:nvPr>
        </p:nvSpPr>
        <p:spPr>
          <a:xfrm>
            <a:off x="519113" y="4612341"/>
            <a:ext cx="5454333" cy="1144929"/>
          </a:xfrm>
        </p:spPr>
        <p:txBody>
          <a:bodyPr/>
          <a:lstStyle/>
          <a:p>
            <a:r>
              <a:rPr lang="en-US" dirty="0" smtClean="0"/>
              <a:t>Name</a:t>
            </a:r>
          </a:p>
          <a:p>
            <a:r>
              <a:rPr lang="en-US" dirty="0" smtClean="0"/>
              <a:t>Title</a:t>
            </a:r>
          </a:p>
          <a:p>
            <a:r>
              <a:rPr lang="en-US" dirty="0" smtClean="0"/>
              <a:t>Microsoft </a:t>
            </a:r>
            <a:r>
              <a:rPr lang="en-US" dirty="0"/>
              <a:t>Corporation</a:t>
            </a:r>
          </a:p>
        </p:txBody>
      </p:sp>
    </p:spTree>
    <p:extLst>
      <p:ext uri="{BB962C8B-B14F-4D97-AF65-F5344CB8AC3E}">
        <p14:creationId xmlns:p14="http://schemas.microsoft.com/office/powerpoint/2010/main" val="5746439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07907731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3608"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5" name="Title 4"/>
          <p:cNvSpPr>
            <a:spLocks noGrp="1"/>
          </p:cNvSpPr>
          <p:nvPr>
            <p:ph type="title"/>
            <p:custDataLst>
              <p:tags r:id="rId3"/>
            </p:custDataLst>
          </p:nvPr>
        </p:nvSpPr>
        <p:spPr/>
        <p:txBody>
          <a:bodyPr/>
          <a:lstStyle/>
          <a:p>
            <a:r>
              <a:rPr lang="en-US" smtClean="0"/>
              <a:t>Agenda </a:t>
            </a:r>
            <a:endParaRPr lang="en-US" dirty="0"/>
          </a:p>
        </p:txBody>
      </p:sp>
      <p:sp>
        <p:nvSpPr>
          <p:cNvPr id="6" name="Content Placeholder 5"/>
          <p:cNvSpPr>
            <a:spLocks noGrp="1"/>
          </p:cNvSpPr>
          <p:nvPr>
            <p:ph type="body" sz="quarter" idx="11"/>
            <p:custDataLst>
              <p:tags r:id="rId4"/>
            </p:custDataLst>
          </p:nvPr>
        </p:nvSpPr>
        <p:spPr>
          <a:xfrm>
            <a:off x="3689498" y="2182708"/>
            <a:ext cx="7825562" cy="3711785"/>
          </a:xfrm>
        </p:spPr>
        <p:txBody>
          <a:bodyPr/>
          <a:lstStyle/>
          <a:p>
            <a:pPr marL="0" indent="3175"/>
            <a:r>
              <a:rPr lang="en-US" sz="2800" dirty="0"/>
              <a:t>Integrating Your Site </a:t>
            </a:r>
            <a:r>
              <a:rPr lang="en-US" sz="2800" dirty="0" smtClean="0"/>
              <a:t>with Internet </a:t>
            </a:r>
            <a:r>
              <a:rPr lang="en-US" sz="2800" dirty="0"/>
              <a:t>Explorer 9 (&amp; 10</a:t>
            </a:r>
            <a:r>
              <a:rPr lang="en-US" sz="2800" dirty="0" smtClean="0"/>
              <a:t>!)</a:t>
            </a:r>
          </a:p>
          <a:p>
            <a:pPr marL="0" indent="3175"/>
            <a:r>
              <a:rPr lang="en-US" sz="2800" dirty="0" err="1"/>
              <a:t>WebMatrix</a:t>
            </a:r>
            <a:r>
              <a:rPr lang="en-US" sz="2800" dirty="0"/>
              <a:t> </a:t>
            </a:r>
            <a:r>
              <a:rPr lang="en-US" sz="2800" dirty="0" smtClean="0"/>
              <a:t>2.0</a:t>
            </a:r>
          </a:p>
          <a:p>
            <a:pPr marL="0" indent="3175"/>
            <a:r>
              <a:rPr lang="en-US" sz="2800" dirty="0"/>
              <a:t>Creating Rich </a:t>
            </a:r>
            <a:r>
              <a:rPr lang="en-US" sz="2800" dirty="0" smtClean="0"/>
              <a:t>HTML </a:t>
            </a:r>
            <a:r>
              <a:rPr lang="en-US" sz="2800" dirty="0"/>
              <a:t>5 </a:t>
            </a:r>
            <a:r>
              <a:rPr lang="en-US" sz="2800" dirty="0" smtClean="0"/>
              <a:t>Experiences</a:t>
            </a:r>
          </a:p>
          <a:p>
            <a:pPr marL="0" indent="3175"/>
            <a:r>
              <a:rPr lang="en-US" sz="2800" dirty="0"/>
              <a:t>Building Web </a:t>
            </a:r>
            <a:r>
              <a:rPr lang="en-US" sz="2800" dirty="0" smtClean="0"/>
              <a:t>Sites Using </a:t>
            </a:r>
            <a:r>
              <a:rPr lang="en-US" sz="2800" dirty="0"/>
              <a:t>ASP.NET </a:t>
            </a:r>
            <a:r>
              <a:rPr lang="en-US" sz="2800" dirty="0" smtClean="0"/>
              <a:t>4.5</a:t>
            </a:r>
          </a:p>
          <a:p>
            <a:pPr marL="0" indent="3175"/>
            <a:r>
              <a:rPr lang="en-US" sz="2800" dirty="0"/>
              <a:t>Building Web APIs in Windows </a:t>
            </a:r>
            <a:r>
              <a:rPr lang="en-US" sz="2800" dirty="0" smtClean="0"/>
              <a:t>Azure</a:t>
            </a:r>
          </a:p>
          <a:p>
            <a:pPr marL="0" indent="3175"/>
            <a:r>
              <a:rPr lang="en-US" sz="2800" dirty="0"/>
              <a:t>Deploying ASP.NET Apps to the Cloud</a:t>
            </a:r>
            <a:endParaRPr lang="en-US" sz="2800" dirty="0" smtClean="0"/>
          </a:p>
        </p:txBody>
      </p:sp>
    </p:spTree>
    <p:extLst>
      <p:ext uri="{BB962C8B-B14F-4D97-AF65-F5344CB8AC3E}">
        <p14:creationId xmlns:p14="http://schemas.microsoft.com/office/powerpoint/2010/main" val="621077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bwMode="auto">
          <a:xfrm>
            <a:off x="6078537" y="1695450"/>
            <a:ext cx="5597525" cy="408912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401394407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4634"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7" name="Title 6"/>
          <p:cNvSpPr>
            <a:spLocks noGrp="1"/>
          </p:cNvSpPr>
          <p:nvPr>
            <p:ph type="title"/>
          </p:nvPr>
        </p:nvSpPr>
        <p:spPr>
          <a:xfrm>
            <a:off x="519112" y="228600"/>
            <a:ext cx="11149013" cy="553998"/>
          </a:xfrm>
        </p:spPr>
        <p:txBody>
          <a:bodyPr/>
          <a:lstStyle/>
          <a:p>
            <a:r>
              <a:rPr lang="en-US" sz="4000" dirty="0"/>
              <a:t>Integrating Your Site with Internet Explorer 9 (&amp; 10</a:t>
            </a:r>
            <a:r>
              <a:rPr lang="en-US" sz="4000" dirty="0" smtClean="0"/>
              <a:t>!)</a:t>
            </a:r>
            <a:endParaRPr lang="en-US" sz="4000" dirty="0"/>
          </a:p>
        </p:txBody>
      </p:sp>
      <p:sp>
        <p:nvSpPr>
          <p:cNvPr id="8" name="Freeform 166"/>
          <p:cNvSpPr>
            <a:spLocks noEditPoints="1"/>
          </p:cNvSpPr>
          <p:nvPr/>
        </p:nvSpPr>
        <p:spPr bwMode="black">
          <a:xfrm>
            <a:off x="7805058" y="2701515"/>
            <a:ext cx="2144482" cy="2076994"/>
          </a:xfrm>
          <a:custGeom>
            <a:avLst/>
            <a:gdLst>
              <a:gd name="T0" fmla="*/ 511 w 538"/>
              <a:gd name="T1" fmla="*/ 164 h 521"/>
              <a:gd name="T2" fmla="*/ 509 w 538"/>
              <a:gd name="T3" fmla="*/ 31 h 521"/>
              <a:gd name="T4" fmla="*/ 322 w 538"/>
              <a:gd name="T5" fmla="*/ 47 h 521"/>
              <a:gd name="T6" fmla="*/ 312 w 538"/>
              <a:gd name="T7" fmla="*/ 46 h 521"/>
              <a:gd name="T8" fmla="*/ 160 w 538"/>
              <a:gd name="T9" fmla="*/ 104 h 521"/>
              <a:gd name="T10" fmla="*/ 89 w 538"/>
              <a:gd name="T11" fmla="*/ 222 h 521"/>
              <a:gd name="T12" fmla="*/ 192 w 538"/>
              <a:gd name="T13" fmla="*/ 132 h 521"/>
              <a:gd name="T14" fmla="*/ 206 w 538"/>
              <a:gd name="T15" fmla="*/ 125 h 521"/>
              <a:gd name="T16" fmla="*/ 176 w 538"/>
              <a:gd name="T17" fmla="*/ 153 h 521"/>
              <a:gd name="T18" fmla="*/ 50 w 538"/>
              <a:gd name="T19" fmla="*/ 488 h 521"/>
              <a:gd name="T20" fmla="*/ 213 w 538"/>
              <a:gd name="T21" fmla="*/ 475 h 521"/>
              <a:gd name="T22" fmla="*/ 312 w 538"/>
              <a:gd name="T23" fmla="*/ 496 h 521"/>
              <a:gd name="T24" fmla="*/ 441 w 538"/>
              <a:gd name="T25" fmla="*/ 458 h 521"/>
              <a:gd name="T26" fmla="*/ 526 w 538"/>
              <a:gd name="T27" fmla="*/ 348 h 521"/>
              <a:gd name="T28" fmla="*/ 403 w 538"/>
              <a:gd name="T29" fmla="*/ 348 h 521"/>
              <a:gd name="T30" fmla="*/ 313 w 538"/>
              <a:gd name="T31" fmla="*/ 399 h 521"/>
              <a:gd name="T32" fmla="*/ 215 w 538"/>
              <a:gd name="T33" fmla="*/ 304 h 521"/>
              <a:gd name="T34" fmla="*/ 215 w 538"/>
              <a:gd name="T35" fmla="*/ 302 h 521"/>
              <a:gd name="T36" fmla="*/ 214 w 538"/>
              <a:gd name="T37" fmla="*/ 299 h 521"/>
              <a:gd name="T38" fmla="*/ 217 w 538"/>
              <a:gd name="T39" fmla="*/ 299 h 521"/>
              <a:gd name="T40" fmla="*/ 535 w 538"/>
              <a:gd name="T41" fmla="*/ 299 h 521"/>
              <a:gd name="T42" fmla="*/ 535 w 538"/>
              <a:gd name="T43" fmla="*/ 294 h 521"/>
              <a:gd name="T44" fmla="*/ 537 w 538"/>
              <a:gd name="T45" fmla="*/ 270 h 521"/>
              <a:gd name="T46" fmla="*/ 511 w 538"/>
              <a:gd name="T47" fmla="*/ 164 h 521"/>
              <a:gd name="T48" fmla="*/ 85 w 538"/>
              <a:gd name="T49" fmla="*/ 479 h 521"/>
              <a:gd name="T50" fmla="*/ 98 w 538"/>
              <a:gd name="T51" fmla="*/ 346 h 521"/>
              <a:gd name="T52" fmla="*/ 166 w 538"/>
              <a:gd name="T53" fmla="*/ 446 h 521"/>
              <a:gd name="T54" fmla="*/ 197 w 538"/>
              <a:gd name="T55" fmla="*/ 467 h 521"/>
              <a:gd name="T56" fmla="*/ 85 w 538"/>
              <a:gd name="T57" fmla="*/ 479 h 521"/>
              <a:gd name="T58" fmla="*/ 204 w 538"/>
              <a:gd name="T59" fmla="*/ 471 h 521"/>
              <a:gd name="T60" fmla="*/ 205 w 538"/>
              <a:gd name="T61" fmla="*/ 472 h 521"/>
              <a:gd name="T62" fmla="*/ 204 w 538"/>
              <a:gd name="T63" fmla="*/ 471 h 521"/>
              <a:gd name="T64" fmla="*/ 409 w 538"/>
              <a:gd name="T65" fmla="*/ 239 h 521"/>
              <a:gd name="T66" fmla="*/ 217 w 538"/>
              <a:gd name="T67" fmla="*/ 239 h 521"/>
              <a:gd name="T68" fmla="*/ 215 w 538"/>
              <a:gd name="T69" fmla="*/ 239 h 521"/>
              <a:gd name="T70" fmla="*/ 215 w 538"/>
              <a:gd name="T71" fmla="*/ 237 h 521"/>
              <a:gd name="T72" fmla="*/ 316 w 538"/>
              <a:gd name="T73" fmla="*/ 146 h 521"/>
              <a:gd name="T74" fmla="*/ 411 w 538"/>
              <a:gd name="T75" fmla="*/ 237 h 521"/>
              <a:gd name="T76" fmla="*/ 411 w 538"/>
              <a:gd name="T77" fmla="*/ 239 h 521"/>
              <a:gd name="T78" fmla="*/ 409 w 538"/>
              <a:gd name="T79" fmla="*/ 239 h 521"/>
              <a:gd name="T80" fmla="*/ 468 w 538"/>
              <a:gd name="T81" fmla="*/ 108 h 521"/>
              <a:gd name="T82" fmla="*/ 392 w 538"/>
              <a:gd name="T83" fmla="*/ 61 h 521"/>
              <a:gd name="T84" fmla="*/ 507 w 538"/>
              <a:gd name="T85" fmla="*/ 57 h 521"/>
              <a:gd name="T86" fmla="*/ 504 w 538"/>
              <a:gd name="T87" fmla="*/ 152 h 521"/>
              <a:gd name="T88" fmla="*/ 504 w 538"/>
              <a:gd name="T89" fmla="*/ 152 h 521"/>
              <a:gd name="T90" fmla="*/ 468 w 538"/>
              <a:gd name="T91" fmla="*/ 108 h 521"/>
              <a:gd name="T92" fmla="*/ 508 w 538"/>
              <a:gd name="T93" fmla="*/ 158 h 521"/>
              <a:gd name="T94" fmla="*/ 508 w 538"/>
              <a:gd name="T95" fmla="*/ 158 h 521"/>
              <a:gd name="T96" fmla="*/ 508 w 538"/>
              <a:gd name="T97" fmla="*/ 158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38" h="521">
                <a:moveTo>
                  <a:pt x="511" y="164"/>
                </a:moveTo>
                <a:cubicBezTo>
                  <a:pt x="536" y="107"/>
                  <a:pt x="538" y="60"/>
                  <a:pt x="509" y="31"/>
                </a:cubicBezTo>
                <a:cubicBezTo>
                  <a:pt x="478" y="0"/>
                  <a:pt x="402" y="9"/>
                  <a:pt x="322" y="47"/>
                </a:cubicBezTo>
                <a:cubicBezTo>
                  <a:pt x="319" y="47"/>
                  <a:pt x="315" y="46"/>
                  <a:pt x="312" y="46"/>
                </a:cubicBezTo>
                <a:cubicBezTo>
                  <a:pt x="256" y="46"/>
                  <a:pt x="201" y="67"/>
                  <a:pt x="160" y="104"/>
                </a:cubicBezTo>
                <a:cubicBezTo>
                  <a:pt x="125" y="135"/>
                  <a:pt x="100" y="176"/>
                  <a:pt x="89" y="222"/>
                </a:cubicBezTo>
                <a:cubicBezTo>
                  <a:pt x="97" y="212"/>
                  <a:pt x="142" y="160"/>
                  <a:pt x="192" y="132"/>
                </a:cubicBezTo>
                <a:cubicBezTo>
                  <a:pt x="193" y="132"/>
                  <a:pt x="205" y="125"/>
                  <a:pt x="206" y="125"/>
                </a:cubicBezTo>
                <a:cubicBezTo>
                  <a:pt x="206" y="125"/>
                  <a:pt x="181" y="148"/>
                  <a:pt x="176" y="153"/>
                </a:cubicBezTo>
                <a:cubicBezTo>
                  <a:pt x="65" y="265"/>
                  <a:pt x="0" y="437"/>
                  <a:pt x="50" y="488"/>
                </a:cubicBezTo>
                <a:cubicBezTo>
                  <a:pt x="83" y="521"/>
                  <a:pt x="143" y="513"/>
                  <a:pt x="213" y="475"/>
                </a:cubicBezTo>
                <a:cubicBezTo>
                  <a:pt x="243" y="489"/>
                  <a:pt x="276" y="496"/>
                  <a:pt x="312" y="496"/>
                </a:cubicBezTo>
                <a:cubicBezTo>
                  <a:pt x="359" y="496"/>
                  <a:pt x="404" y="483"/>
                  <a:pt x="441" y="458"/>
                </a:cubicBezTo>
                <a:cubicBezTo>
                  <a:pt x="480" y="433"/>
                  <a:pt x="509" y="394"/>
                  <a:pt x="526" y="348"/>
                </a:cubicBezTo>
                <a:cubicBezTo>
                  <a:pt x="403" y="348"/>
                  <a:pt x="403" y="348"/>
                  <a:pt x="403" y="348"/>
                </a:cubicBezTo>
                <a:cubicBezTo>
                  <a:pt x="388" y="378"/>
                  <a:pt x="351" y="399"/>
                  <a:pt x="313" y="399"/>
                </a:cubicBezTo>
                <a:cubicBezTo>
                  <a:pt x="260" y="399"/>
                  <a:pt x="215" y="355"/>
                  <a:pt x="215" y="304"/>
                </a:cubicBezTo>
                <a:cubicBezTo>
                  <a:pt x="215" y="302"/>
                  <a:pt x="215" y="302"/>
                  <a:pt x="215" y="302"/>
                </a:cubicBezTo>
                <a:cubicBezTo>
                  <a:pt x="214" y="299"/>
                  <a:pt x="214" y="299"/>
                  <a:pt x="214" y="299"/>
                </a:cubicBezTo>
                <a:cubicBezTo>
                  <a:pt x="217" y="299"/>
                  <a:pt x="217" y="299"/>
                  <a:pt x="217" y="299"/>
                </a:cubicBezTo>
                <a:cubicBezTo>
                  <a:pt x="535" y="299"/>
                  <a:pt x="535" y="299"/>
                  <a:pt x="535" y="299"/>
                </a:cubicBezTo>
                <a:cubicBezTo>
                  <a:pt x="535" y="298"/>
                  <a:pt x="535" y="296"/>
                  <a:pt x="535" y="294"/>
                </a:cubicBezTo>
                <a:cubicBezTo>
                  <a:pt x="536" y="286"/>
                  <a:pt x="537" y="277"/>
                  <a:pt x="537" y="270"/>
                </a:cubicBezTo>
                <a:cubicBezTo>
                  <a:pt x="537" y="232"/>
                  <a:pt x="528" y="196"/>
                  <a:pt x="511" y="164"/>
                </a:cubicBezTo>
                <a:close/>
                <a:moveTo>
                  <a:pt x="85" y="479"/>
                </a:moveTo>
                <a:cubicBezTo>
                  <a:pt x="60" y="454"/>
                  <a:pt x="67" y="405"/>
                  <a:pt x="98" y="346"/>
                </a:cubicBezTo>
                <a:cubicBezTo>
                  <a:pt x="113" y="386"/>
                  <a:pt x="136" y="420"/>
                  <a:pt x="166" y="446"/>
                </a:cubicBezTo>
                <a:cubicBezTo>
                  <a:pt x="176" y="454"/>
                  <a:pt x="186" y="461"/>
                  <a:pt x="197" y="467"/>
                </a:cubicBezTo>
                <a:cubicBezTo>
                  <a:pt x="147" y="494"/>
                  <a:pt x="106" y="500"/>
                  <a:pt x="85" y="479"/>
                </a:cubicBezTo>
                <a:close/>
                <a:moveTo>
                  <a:pt x="204" y="471"/>
                </a:moveTo>
                <a:cubicBezTo>
                  <a:pt x="204" y="471"/>
                  <a:pt x="205" y="471"/>
                  <a:pt x="205" y="472"/>
                </a:cubicBezTo>
                <a:cubicBezTo>
                  <a:pt x="205" y="471"/>
                  <a:pt x="204" y="471"/>
                  <a:pt x="204" y="471"/>
                </a:cubicBezTo>
                <a:close/>
                <a:moveTo>
                  <a:pt x="409" y="239"/>
                </a:moveTo>
                <a:cubicBezTo>
                  <a:pt x="217" y="239"/>
                  <a:pt x="217" y="239"/>
                  <a:pt x="217" y="239"/>
                </a:cubicBezTo>
                <a:cubicBezTo>
                  <a:pt x="215" y="239"/>
                  <a:pt x="215" y="239"/>
                  <a:pt x="215" y="239"/>
                </a:cubicBezTo>
                <a:cubicBezTo>
                  <a:pt x="215" y="237"/>
                  <a:pt x="215" y="237"/>
                  <a:pt x="215" y="237"/>
                </a:cubicBezTo>
                <a:cubicBezTo>
                  <a:pt x="217" y="188"/>
                  <a:pt x="264" y="146"/>
                  <a:pt x="316" y="146"/>
                </a:cubicBezTo>
                <a:cubicBezTo>
                  <a:pt x="367" y="146"/>
                  <a:pt x="408" y="186"/>
                  <a:pt x="411" y="237"/>
                </a:cubicBezTo>
                <a:cubicBezTo>
                  <a:pt x="411" y="239"/>
                  <a:pt x="411" y="239"/>
                  <a:pt x="411" y="239"/>
                </a:cubicBezTo>
                <a:lnTo>
                  <a:pt x="409" y="239"/>
                </a:lnTo>
                <a:close/>
                <a:moveTo>
                  <a:pt x="468" y="108"/>
                </a:moveTo>
                <a:cubicBezTo>
                  <a:pt x="446" y="87"/>
                  <a:pt x="420" y="72"/>
                  <a:pt x="392" y="61"/>
                </a:cubicBezTo>
                <a:cubicBezTo>
                  <a:pt x="443" y="38"/>
                  <a:pt x="485" y="35"/>
                  <a:pt x="507" y="57"/>
                </a:cubicBezTo>
                <a:cubicBezTo>
                  <a:pt x="525" y="75"/>
                  <a:pt x="523" y="109"/>
                  <a:pt x="504" y="152"/>
                </a:cubicBezTo>
                <a:cubicBezTo>
                  <a:pt x="504" y="152"/>
                  <a:pt x="504" y="152"/>
                  <a:pt x="504" y="152"/>
                </a:cubicBezTo>
                <a:cubicBezTo>
                  <a:pt x="494" y="136"/>
                  <a:pt x="482" y="121"/>
                  <a:pt x="468" y="108"/>
                </a:cubicBezTo>
                <a:close/>
                <a:moveTo>
                  <a:pt x="508" y="158"/>
                </a:moveTo>
                <a:cubicBezTo>
                  <a:pt x="508" y="158"/>
                  <a:pt x="508" y="158"/>
                  <a:pt x="508" y="158"/>
                </a:cubicBezTo>
                <a:cubicBezTo>
                  <a:pt x="508" y="158"/>
                  <a:pt x="508" y="158"/>
                  <a:pt x="508" y="1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 name="Text Placeholder 4"/>
          <p:cNvSpPr>
            <a:spLocks noGrp="1"/>
          </p:cNvSpPr>
          <p:nvPr>
            <p:ph type="body" sz="quarter" idx="10"/>
          </p:nvPr>
        </p:nvSpPr>
        <p:spPr>
          <a:xfrm>
            <a:off x="517525" y="1695450"/>
            <a:ext cx="5404810" cy="4253472"/>
          </a:xfrm>
        </p:spPr>
        <p:txBody>
          <a:bodyPr/>
          <a:lstStyle/>
          <a:p>
            <a:pPr>
              <a:spcBef>
                <a:spcPts val="2400"/>
              </a:spcBef>
              <a:spcAft>
                <a:spcPts val="0"/>
              </a:spcAft>
            </a:pPr>
            <a:r>
              <a:rPr lang="en-US" sz="2800" dirty="0"/>
              <a:t>Windows and the Web</a:t>
            </a:r>
          </a:p>
          <a:p>
            <a:pPr>
              <a:spcBef>
                <a:spcPts val="2400"/>
              </a:spcBef>
              <a:spcAft>
                <a:spcPts val="0"/>
              </a:spcAft>
            </a:pPr>
            <a:r>
              <a:rPr lang="en-US" sz="2800" dirty="0"/>
              <a:t>Pinned Sites</a:t>
            </a:r>
          </a:p>
          <a:p>
            <a:pPr>
              <a:spcBef>
                <a:spcPts val="2400"/>
              </a:spcBef>
              <a:spcAft>
                <a:spcPts val="0"/>
              </a:spcAft>
            </a:pPr>
            <a:r>
              <a:rPr lang="en-US" sz="2800" dirty="0"/>
              <a:t>Interoperable</a:t>
            </a:r>
          </a:p>
          <a:p>
            <a:pPr>
              <a:spcBef>
                <a:spcPts val="2400"/>
              </a:spcBef>
              <a:spcAft>
                <a:spcPts val="0"/>
              </a:spcAft>
            </a:pPr>
            <a:r>
              <a:rPr lang="en-US" sz="2800" dirty="0"/>
              <a:t>IE9 &amp; HTML5</a:t>
            </a:r>
          </a:p>
          <a:p>
            <a:pPr>
              <a:spcBef>
                <a:spcPts val="2400"/>
              </a:spcBef>
              <a:spcAft>
                <a:spcPts val="0"/>
              </a:spcAft>
            </a:pPr>
            <a:r>
              <a:rPr lang="en-US" sz="2800" dirty="0"/>
              <a:t>Building a Fast Web Experience</a:t>
            </a:r>
          </a:p>
          <a:p>
            <a:pPr>
              <a:spcBef>
                <a:spcPts val="2400"/>
              </a:spcBef>
              <a:spcAft>
                <a:spcPts val="0"/>
              </a:spcAft>
            </a:pPr>
            <a:r>
              <a:rPr lang="en-US" sz="2800" dirty="0"/>
              <a:t>Getting Ready for Internet Explorer 10</a:t>
            </a:r>
          </a:p>
        </p:txBody>
      </p:sp>
    </p:spTree>
    <p:extLst>
      <p:ext uri="{BB962C8B-B14F-4D97-AF65-F5344CB8AC3E}">
        <p14:creationId xmlns:p14="http://schemas.microsoft.com/office/powerpoint/2010/main" val="25510042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after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additive="base">
                                        <p:cTn id="7" dur="500" fill="hold"/>
                                        <p:tgtEl>
                                          <p:spTgt spid="5">
                                            <p:txEl>
                                              <p:pRg st="0" end="0"/>
                                            </p:txEl>
                                          </p:spTgt>
                                        </p:tgtEl>
                                        <p:attrNameLst>
                                          <p:attrName>ppt_x</p:attrName>
                                        </p:attrNameLst>
                                      </p:cBhvr>
                                      <p:tavLst>
                                        <p:tav tm="0">
                                          <p:val>
                                            <p:strVal val="1+#ppt_w/2"/>
                                          </p:val>
                                        </p:tav>
                                        <p:tav tm="100000">
                                          <p:val>
                                            <p:strVal val="#ppt_x"/>
                                          </p:val>
                                        </p:tav>
                                      </p:tavLst>
                                    </p:anim>
                                    <p:anim calcmode="lin" valueType="num">
                                      <p:cBhvr additive="base">
                                        <p:cTn id="8" dur="500" fill="hold"/>
                                        <p:tgtEl>
                                          <p:spTgt spid="5">
                                            <p:txEl>
                                              <p:pRg st="0" end="0"/>
                                            </p:txEl>
                                          </p:spTgt>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anim calcmode="lin" valueType="num">
                                      <p:cBhvr additive="base">
                                        <p:cTn id="11" dur="500" fill="hold"/>
                                        <p:tgtEl>
                                          <p:spTgt spid="5">
                                            <p:txEl>
                                              <p:pRg st="1" end="1"/>
                                            </p:txEl>
                                          </p:spTgt>
                                        </p:tgtEl>
                                        <p:attrNameLst>
                                          <p:attrName>ppt_x</p:attrName>
                                        </p:attrNameLst>
                                      </p:cBhvr>
                                      <p:tavLst>
                                        <p:tav tm="0">
                                          <p:val>
                                            <p:strVal val="1+#ppt_w/2"/>
                                          </p:val>
                                        </p:tav>
                                        <p:tav tm="100000">
                                          <p:val>
                                            <p:strVal val="#ppt_x"/>
                                          </p:val>
                                        </p:tav>
                                      </p:tavLst>
                                    </p:anim>
                                    <p:anim calcmode="lin" valueType="num">
                                      <p:cBhvr additive="base">
                                        <p:cTn id="12" dur="500" fill="hold"/>
                                        <p:tgtEl>
                                          <p:spTgt spid="5">
                                            <p:txEl>
                                              <p:pRg st="1" end="1"/>
                                            </p:txEl>
                                          </p:spTgt>
                                        </p:tgtEl>
                                        <p:attrNameLst>
                                          <p:attrName>ppt_y</p:attrName>
                                        </p:attrNameLst>
                                      </p:cBhvr>
                                      <p:tavLst>
                                        <p:tav tm="0">
                                          <p:val>
                                            <p:strVal val="#ppt_y"/>
                                          </p:val>
                                        </p:tav>
                                        <p:tav tm="100000">
                                          <p:val>
                                            <p:strVal val="#ppt_y"/>
                                          </p:val>
                                        </p:tav>
                                      </p:tavLst>
                                    </p:anim>
                                  </p:childTnLst>
                                </p:cTn>
                              </p:par>
                              <p:par>
                                <p:cTn id="13" presetID="2" presetClass="entr" presetSubtype="2" decel="100000" fill="hold" grpId="0" nodeType="withEffect">
                                  <p:stCondLst>
                                    <p:cond delay="0"/>
                                  </p:stCondLst>
                                  <p:childTnLst>
                                    <p:set>
                                      <p:cBhvr>
                                        <p:cTn id="14" dur="1" fill="hold">
                                          <p:stCondLst>
                                            <p:cond delay="0"/>
                                          </p:stCondLst>
                                        </p:cTn>
                                        <p:tgtEl>
                                          <p:spTgt spid="5">
                                            <p:txEl>
                                              <p:pRg st="2" end="2"/>
                                            </p:txEl>
                                          </p:spTgt>
                                        </p:tgtEl>
                                        <p:attrNameLst>
                                          <p:attrName>style.visibility</p:attrName>
                                        </p:attrNameLst>
                                      </p:cBhvr>
                                      <p:to>
                                        <p:strVal val="visible"/>
                                      </p:to>
                                    </p:set>
                                    <p:anim calcmode="lin" valueType="num">
                                      <p:cBhvr additive="base">
                                        <p:cTn id="15" dur="500" fill="hold"/>
                                        <p:tgtEl>
                                          <p:spTgt spid="5">
                                            <p:txEl>
                                              <p:pRg st="2" end="2"/>
                                            </p:txEl>
                                          </p:spTgt>
                                        </p:tgtEl>
                                        <p:attrNameLst>
                                          <p:attrName>ppt_x</p:attrName>
                                        </p:attrNameLst>
                                      </p:cBhvr>
                                      <p:tavLst>
                                        <p:tav tm="0">
                                          <p:val>
                                            <p:strVal val="1+#ppt_w/2"/>
                                          </p:val>
                                        </p:tav>
                                        <p:tav tm="100000">
                                          <p:val>
                                            <p:strVal val="#ppt_x"/>
                                          </p:val>
                                        </p:tav>
                                      </p:tavLst>
                                    </p:anim>
                                    <p:anim calcmode="lin" valueType="num">
                                      <p:cBhvr additive="base">
                                        <p:cTn id="16" dur="500" fill="hold"/>
                                        <p:tgtEl>
                                          <p:spTgt spid="5">
                                            <p:txEl>
                                              <p:pRg st="2" end="2"/>
                                            </p:txEl>
                                          </p:spTgt>
                                        </p:tgtEl>
                                        <p:attrNameLst>
                                          <p:attrName>ppt_y</p:attrName>
                                        </p:attrNameLst>
                                      </p:cBhvr>
                                      <p:tavLst>
                                        <p:tav tm="0">
                                          <p:val>
                                            <p:strVal val="#ppt_y"/>
                                          </p:val>
                                        </p:tav>
                                        <p:tav tm="100000">
                                          <p:val>
                                            <p:strVal val="#ppt_y"/>
                                          </p:val>
                                        </p:tav>
                                      </p:tavLst>
                                    </p:anim>
                                  </p:childTnLst>
                                </p:cTn>
                              </p:par>
                              <p:par>
                                <p:cTn id="17" presetID="2" presetClass="entr" presetSubtype="2" decel="100000" fill="hold" grpId="0" nodeType="withEffect">
                                  <p:stCondLst>
                                    <p:cond delay="0"/>
                                  </p:stCondLst>
                                  <p:childTnLst>
                                    <p:set>
                                      <p:cBhvr>
                                        <p:cTn id="18" dur="1" fill="hold">
                                          <p:stCondLst>
                                            <p:cond delay="0"/>
                                          </p:stCondLst>
                                        </p:cTn>
                                        <p:tgtEl>
                                          <p:spTgt spid="5">
                                            <p:txEl>
                                              <p:pRg st="3" end="3"/>
                                            </p:txEl>
                                          </p:spTgt>
                                        </p:tgtEl>
                                        <p:attrNameLst>
                                          <p:attrName>style.visibility</p:attrName>
                                        </p:attrNameLst>
                                      </p:cBhvr>
                                      <p:to>
                                        <p:strVal val="visible"/>
                                      </p:to>
                                    </p:set>
                                    <p:anim calcmode="lin" valueType="num">
                                      <p:cBhvr additive="base">
                                        <p:cTn id="19" dur="500" fill="hold"/>
                                        <p:tgtEl>
                                          <p:spTgt spid="5">
                                            <p:txEl>
                                              <p:pRg st="3" end="3"/>
                                            </p:txEl>
                                          </p:spTgt>
                                        </p:tgtEl>
                                        <p:attrNameLst>
                                          <p:attrName>ppt_x</p:attrName>
                                        </p:attrNameLst>
                                      </p:cBhvr>
                                      <p:tavLst>
                                        <p:tav tm="0">
                                          <p:val>
                                            <p:strVal val="1+#ppt_w/2"/>
                                          </p:val>
                                        </p:tav>
                                        <p:tav tm="100000">
                                          <p:val>
                                            <p:strVal val="#ppt_x"/>
                                          </p:val>
                                        </p:tav>
                                      </p:tavLst>
                                    </p:anim>
                                    <p:anim calcmode="lin" valueType="num">
                                      <p:cBhvr additive="base">
                                        <p:cTn id="20" dur="500" fill="hold"/>
                                        <p:tgtEl>
                                          <p:spTgt spid="5">
                                            <p:txEl>
                                              <p:pRg st="3" end="3"/>
                                            </p:txEl>
                                          </p:spTgt>
                                        </p:tgtEl>
                                        <p:attrNameLst>
                                          <p:attrName>ppt_y</p:attrName>
                                        </p:attrNameLst>
                                      </p:cBhvr>
                                      <p:tavLst>
                                        <p:tav tm="0">
                                          <p:val>
                                            <p:strVal val="#ppt_y"/>
                                          </p:val>
                                        </p:tav>
                                        <p:tav tm="100000">
                                          <p:val>
                                            <p:strVal val="#ppt_y"/>
                                          </p:val>
                                        </p:tav>
                                      </p:tavLst>
                                    </p:anim>
                                  </p:childTnLst>
                                </p:cTn>
                              </p:par>
                              <p:par>
                                <p:cTn id="21" presetID="2" presetClass="entr" presetSubtype="2" decel="100000" fill="hold" grpId="0" nodeType="withEffect">
                                  <p:stCondLst>
                                    <p:cond delay="0"/>
                                  </p:stCondLst>
                                  <p:childTnLst>
                                    <p:set>
                                      <p:cBhvr>
                                        <p:cTn id="22" dur="1" fill="hold">
                                          <p:stCondLst>
                                            <p:cond delay="0"/>
                                          </p:stCondLst>
                                        </p:cTn>
                                        <p:tgtEl>
                                          <p:spTgt spid="5">
                                            <p:txEl>
                                              <p:pRg st="4" end="4"/>
                                            </p:txEl>
                                          </p:spTgt>
                                        </p:tgtEl>
                                        <p:attrNameLst>
                                          <p:attrName>style.visibility</p:attrName>
                                        </p:attrNameLst>
                                      </p:cBhvr>
                                      <p:to>
                                        <p:strVal val="visible"/>
                                      </p:to>
                                    </p:set>
                                    <p:anim calcmode="lin" valueType="num">
                                      <p:cBhvr additive="base">
                                        <p:cTn id="23" dur="500" fill="hold"/>
                                        <p:tgtEl>
                                          <p:spTgt spid="5">
                                            <p:txEl>
                                              <p:pRg st="4" end="4"/>
                                            </p:txEl>
                                          </p:spTgt>
                                        </p:tgtEl>
                                        <p:attrNameLst>
                                          <p:attrName>ppt_x</p:attrName>
                                        </p:attrNameLst>
                                      </p:cBhvr>
                                      <p:tavLst>
                                        <p:tav tm="0">
                                          <p:val>
                                            <p:strVal val="1+#ppt_w/2"/>
                                          </p:val>
                                        </p:tav>
                                        <p:tav tm="100000">
                                          <p:val>
                                            <p:strVal val="#ppt_x"/>
                                          </p:val>
                                        </p:tav>
                                      </p:tavLst>
                                    </p:anim>
                                    <p:anim calcmode="lin" valueType="num">
                                      <p:cBhvr additive="base">
                                        <p:cTn id="24" dur="500" fill="hold"/>
                                        <p:tgtEl>
                                          <p:spTgt spid="5">
                                            <p:txEl>
                                              <p:pRg st="4" end="4"/>
                                            </p:txEl>
                                          </p:spTgt>
                                        </p:tgtEl>
                                        <p:attrNameLst>
                                          <p:attrName>ppt_y</p:attrName>
                                        </p:attrNameLst>
                                      </p:cBhvr>
                                      <p:tavLst>
                                        <p:tav tm="0">
                                          <p:val>
                                            <p:strVal val="#ppt_y"/>
                                          </p:val>
                                        </p:tav>
                                        <p:tav tm="100000">
                                          <p:val>
                                            <p:strVal val="#ppt_y"/>
                                          </p:val>
                                        </p:tav>
                                      </p:tavLst>
                                    </p:anim>
                                  </p:childTnLst>
                                </p:cTn>
                              </p:par>
                              <p:par>
                                <p:cTn id="25" presetID="2" presetClass="entr" presetSubtype="2" decel="100000" fill="hold" grpId="0" nodeType="withEffect">
                                  <p:stCondLst>
                                    <p:cond delay="0"/>
                                  </p:stCondLst>
                                  <p:childTnLst>
                                    <p:set>
                                      <p:cBhvr>
                                        <p:cTn id="26" dur="1" fill="hold">
                                          <p:stCondLst>
                                            <p:cond delay="0"/>
                                          </p:stCondLst>
                                        </p:cTn>
                                        <p:tgtEl>
                                          <p:spTgt spid="5">
                                            <p:txEl>
                                              <p:pRg st="5" end="5"/>
                                            </p:txEl>
                                          </p:spTgt>
                                        </p:tgtEl>
                                        <p:attrNameLst>
                                          <p:attrName>style.visibility</p:attrName>
                                        </p:attrNameLst>
                                      </p:cBhvr>
                                      <p:to>
                                        <p:strVal val="visible"/>
                                      </p:to>
                                    </p:set>
                                    <p:anim calcmode="lin" valueType="num">
                                      <p:cBhvr additive="base">
                                        <p:cTn id="27" dur="500" fill="hold"/>
                                        <p:tgtEl>
                                          <p:spTgt spid="5">
                                            <p:txEl>
                                              <p:pRg st="5" end="5"/>
                                            </p:txEl>
                                          </p:spTgt>
                                        </p:tgtEl>
                                        <p:attrNameLst>
                                          <p:attrName>ppt_x</p:attrName>
                                        </p:attrNameLst>
                                      </p:cBhvr>
                                      <p:tavLst>
                                        <p:tav tm="0">
                                          <p:val>
                                            <p:strVal val="1+#ppt_w/2"/>
                                          </p:val>
                                        </p:tav>
                                        <p:tav tm="100000">
                                          <p:val>
                                            <p:strVal val="#ppt_x"/>
                                          </p:val>
                                        </p:tav>
                                      </p:tavLst>
                                    </p:anim>
                                    <p:anim calcmode="lin" valueType="num">
                                      <p:cBhvr additive="base">
                                        <p:cTn id="28" dur="500" fill="hold"/>
                                        <p:tgtEl>
                                          <p:spTgt spid="5">
                                            <p:txEl>
                                              <p:pRg st="5" end="5"/>
                                            </p:txEl>
                                          </p:spTgt>
                                        </p:tgtEl>
                                        <p:attrNameLst>
                                          <p:attrName>ppt_y</p:attrName>
                                        </p:attrNameLst>
                                      </p:cBhvr>
                                      <p:tavLst>
                                        <p:tav tm="0">
                                          <p:val>
                                            <p:strVal val="#ppt_y"/>
                                          </p:val>
                                        </p:tav>
                                        <p:tav tm="100000">
                                          <p:val>
                                            <p:strVal val="#ppt_y"/>
                                          </p:val>
                                        </p:tav>
                                      </p:tavLst>
                                    </p:anim>
                                  </p:childTnLst>
                                </p:cTn>
                              </p:par>
                              <p:par>
                                <p:cTn id="29" presetID="2" presetClass="entr" presetSubtype="2" decel="100000" fill="hold" grpId="0" nodeType="withEffect">
                                  <p:stCondLst>
                                    <p:cond delay="250"/>
                                  </p:stCondLst>
                                  <p:childTnLst>
                                    <p:set>
                                      <p:cBhvr>
                                        <p:cTn id="30" dur="1" fill="hold">
                                          <p:stCondLst>
                                            <p:cond delay="0"/>
                                          </p:stCondLst>
                                        </p:cTn>
                                        <p:tgtEl>
                                          <p:spTgt spid="10"/>
                                        </p:tgtEl>
                                        <p:attrNameLst>
                                          <p:attrName>style.visibility</p:attrName>
                                        </p:attrNameLst>
                                      </p:cBhvr>
                                      <p:to>
                                        <p:strVal val="visible"/>
                                      </p:to>
                                    </p:set>
                                    <p:anim calcmode="lin" valueType="num">
                                      <p:cBhvr additive="base">
                                        <p:cTn id="31" dur="500" fill="hold"/>
                                        <p:tgtEl>
                                          <p:spTgt spid="10"/>
                                        </p:tgtEl>
                                        <p:attrNameLst>
                                          <p:attrName>ppt_x</p:attrName>
                                        </p:attrNameLst>
                                      </p:cBhvr>
                                      <p:tavLst>
                                        <p:tav tm="0">
                                          <p:val>
                                            <p:strVal val="1+#ppt_w/2"/>
                                          </p:val>
                                        </p:tav>
                                        <p:tav tm="100000">
                                          <p:val>
                                            <p:strVal val="#ppt_x"/>
                                          </p:val>
                                        </p:tav>
                                      </p:tavLst>
                                    </p:anim>
                                    <p:anim calcmode="lin" valueType="num">
                                      <p:cBhvr additive="base">
                                        <p:cTn id="32" dur="500" fill="hold"/>
                                        <p:tgtEl>
                                          <p:spTgt spid="1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5" grpId="0" uiExpand="1" build="p"/>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bwMode="auto">
          <a:xfrm>
            <a:off x="6078537" y="1695450"/>
            <a:ext cx="5597525" cy="408912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53286770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0429"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7" name="Title 6"/>
          <p:cNvSpPr>
            <a:spLocks noGrp="1"/>
          </p:cNvSpPr>
          <p:nvPr>
            <p:ph type="title"/>
          </p:nvPr>
        </p:nvSpPr>
        <p:spPr>
          <a:xfrm>
            <a:off x="519112" y="228600"/>
            <a:ext cx="11149013" cy="553998"/>
          </a:xfrm>
        </p:spPr>
        <p:txBody>
          <a:bodyPr/>
          <a:lstStyle/>
          <a:p>
            <a:r>
              <a:rPr lang="en-US" sz="4000" dirty="0" err="1"/>
              <a:t>WebMatrix</a:t>
            </a:r>
            <a:r>
              <a:rPr lang="en-US" sz="4000" dirty="0"/>
              <a:t> 2.0</a:t>
            </a:r>
          </a:p>
        </p:txBody>
      </p:sp>
      <p:sp>
        <p:nvSpPr>
          <p:cNvPr id="9" name="Freeform 73"/>
          <p:cNvSpPr>
            <a:spLocks noEditPoints="1"/>
          </p:cNvSpPr>
          <p:nvPr/>
        </p:nvSpPr>
        <p:spPr bwMode="black">
          <a:xfrm>
            <a:off x="7850187" y="2748473"/>
            <a:ext cx="2054226" cy="1983078"/>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
        <p:nvSpPr>
          <p:cNvPr id="5" name="Text Placeholder 4"/>
          <p:cNvSpPr>
            <a:spLocks noGrp="1"/>
          </p:cNvSpPr>
          <p:nvPr>
            <p:ph type="body" sz="quarter" idx="10"/>
          </p:nvPr>
        </p:nvSpPr>
        <p:spPr>
          <a:xfrm>
            <a:off x="517525" y="1695450"/>
            <a:ext cx="5404810" cy="1083374"/>
          </a:xfrm>
        </p:spPr>
        <p:txBody>
          <a:bodyPr/>
          <a:lstStyle/>
          <a:p>
            <a:pPr>
              <a:spcBef>
                <a:spcPts val="2400"/>
              </a:spcBef>
              <a:spcAft>
                <a:spcPts val="0"/>
              </a:spcAft>
            </a:pPr>
            <a:r>
              <a:rPr lang="en-US" sz="2800" dirty="0"/>
              <a:t>Getting Started</a:t>
            </a:r>
          </a:p>
          <a:p>
            <a:pPr>
              <a:spcBef>
                <a:spcPts val="2400"/>
              </a:spcBef>
              <a:spcAft>
                <a:spcPts val="0"/>
              </a:spcAft>
            </a:pPr>
            <a:r>
              <a:rPr lang="en-US" sz="2800" dirty="0"/>
              <a:t>Razor</a:t>
            </a:r>
          </a:p>
        </p:txBody>
      </p:sp>
    </p:spTree>
    <p:extLst>
      <p:ext uri="{BB962C8B-B14F-4D97-AF65-F5344CB8AC3E}">
        <p14:creationId xmlns:p14="http://schemas.microsoft.com/office/powerpoint/2010/main" val="2291038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after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additive="base">
                                        <p:cTn id="7" dur="500" fill="hold"/>
                                        <p:tgtEl>
                                          <p:spTgt spid="5">
                                            <p:txEl>
                                              <p:pRg st="0" end="0"/>
                                            </p:txEl>
                                          </p:spTgt>
                                        </p:tgtEl>
                                        <p:attrNameLst>
                                          <p:attrName>ppt_x</p:attrName>
                                        </p:attrNameLst>
                                      </p:cBhvr>
                                      <p:tavLst>
                                        <p:tav tm="0">
                                          <p:val>
                                            <p:strVal val="1+#ppt_w/2"/>
                                          </p:val>
                                        </p:tav>
                                        <p:tav tm="100000">
                                          <p:val>
                                            <p:strVal val="#ppt_x"/>
                                          </p:val>
                                        </p:tav>
                                      </p:tavLst>
                                    </p:anim>
                                    <p:anim calcmode="lin" valueType="num">
                                      <p:cBhvr additive="base">
                                        <p:cTn id="8" dur="500" fill="hold"/>
                                        <p:tgtEl>
                                          <p:spTgt spid="5">
                                            <p:txEl>
                                              <p:pRg st="0" end="0"/>
                                            </p:txEl>
                                          </p:spTgt>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anim calcmode="lin" valueType="num">
                                      <p:cBhvr additive="base">
                                        <p:cTn id="11" dur="500" fill="hold"/>
                                        <p:tgtEl>
                                          <p:spTgt spid="5">
                                            <p:txEl>
                                              <p:pRg st="1" end="1"/>
                                            </p:txEl>
                                          </p:spTgt>
                                        </p:tgtEl>
                                        <p:attrNameLst>
                                          <p:attrName>ppt_x</p:attrName>
                                        </p:attrNameLst>
                                      </p:cBhvr>
                                      <p:tavLst>
                                        <p:tav tm="0">
                                          <p:val>
                                            <p:strVal val="1+#ppt_w/2"/>
                                          </p:val>
                                        </p:tav>
                                        <p:tav tm="100000">
                                          <p:val>
                                            <p:strVal val="#ppt_x"/>
                                          </p:val>
                                        </p:tav>
                                      </p:tavLst>
                                    </p:anim>
                                    <p:anim calcmode="lin" valueType="num">
                                      <p:cBhvr additive="base">
                                        <p:cTn id="12" dur="500" fill="hold"/>
                                        <p:tgtEl>
                                          <p:spTgt spid="5">
                                            <p:txEl>
                                              <p:pRg st="1" end="1"/>
                                            </p:txEl>
                                          </p:spTgt>
                                        </p:tgtEl>
                                        <p:attrNameLst>
                                          <p:attrName>ppt_y</p:attrName>
                                        </p:attrNameLst>
                                      </p:cBhvr>
                                      <p:tavLst>
                                        <p:tav tm="0">
                                          <p:val>
                                            <p:strVal val="#ppt_y"/>
                                          </p:val>
                                        </p:tav>
                                        <p:tav tm="100000">
                                          <p:val>
                                            <p:strVal val="#ppt_y"/>
                                          </p:val>
                                        </p:tav>
                                      </p:tavLst>
                                    </p:anim>
                                  </p:childTnLst>
                                </p:cTn>
                              </p:par>
                              <p:par>
                                <p:cTn id="13" presetID="2" presetClass="entr" presetSubtype="2" decel="100000" fill="hold" grpId="0" nodeType="withEffect">
                                  <p:stCondLst>
                                    <p:cond delay="250"/>
                                  </p:stCondLst>
                                  <p:childTnLst>
                                    <p:set>
                                      <p:cBhvr>
                                        <p:cTn id="14" dur="1" fill="hold">
                                          <p:stCondLst>
                                            <p:cond delay="0"/>
                                          </p:stCondLst>
                                        </p:cTn>
                                        <p:tgtEl>
                                          <p:spTgt spid="10"/>
                                        </p:tgtEl>
                                        <p:attrNameLst>
                                          <p:attrName>style.visibility</p:attrName>
                                        </p:attrNameLst>
                                      </p:cBhvr>
                                      <p:to>
                                        <p:strVal val="visible"/>
                                      </p:to>
                                    </p:set>
                                    <p:anim calcmode="lin" valueType="num">
                                      <p:cBhvr additive="base">
                                        <p:cTn id="15" dur="500" fill="hold"/>
                                        <p:tgtEl>
                                          <p:spTgt spid="10"/>
                                        </p:tgtEl>
                                        <p:attrNameLst>
                                          <p:attrName>ppt_x</p:attrName>
                                        </p:attrNameLst>
                                      </p:cBhvr>
                                      <p:tavLst>
                                        <p:tav tm="0">
                                          <p:val>
                                            <p:strVal val="1+#ppt_w/2"/>
                                          </p:val>
                                        </p:tav>
                                        <p:tav tm="100000">
                                          <p:val>
                                            <p:strVal val="#ppt_x"/>
                                          </p:val>
                                        </p:tav>
                                      </p:tavLst>
                                    </p:anim>
                                    <p:anim calcmode="lin" valueType="num">
                                      <p:cBhvr additive="base">
                                        <p:cTn id="16" dur="500" fill="hold"/>
                                        <p:tgtEl>
                                          <p:spTgt spid="1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5" grpId="0" uiExpand="1" build="p"/>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bwMode="auto">
          <a:xfrm>
            <a:off x="6078537" y="1695450"/>
            <a:ext cx="5597525" cy="408912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87134603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1454"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7" name="Title 6"/>
          <p:cNvSpPr>
            <a:spLocks noGrp="1"/>
          </p:cNvSpPr>
          <p:nvPr>
            <p:ph type="title"/>
          </p:nvPr>
        </p:nvSpPr>
        <p:spPr>
          <a:xfrm>
            <a:off x="519112" y="228600"/>
            <a:ext cx="11149013" cy="553998"/>
          </a:xfrm>
        </p:spPr>
        <p:txBody>
          <a:bodyPr/>
          <a:lstStyle/>
          <a:p>
            <a:r>
              <a:rPr lang="en-US" sz="4000" dirty="0"/>
              <a:t>Creating Rich </a:t>
            </a:r>
            <a:r>
              <a:rPr lang="en-US" sz="4000" dirty="0" smtClean="0"/>
              <a:t>HTML </a:t>
            </a:r>
            <a:r>
              <a:rPr lang="en-US" sz="4000" dirty="0"/>
              <a:t>5 Experiences</a:t>
            </a:r>
          </a:p>
        </p:txBody>
      </p:sp>
      <p:pic>
        <p:nvPicPr>
          <p:cNvPr id="6" name="Picture 5"/>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952306" y="2438351"/>
            <a:ext cx="1849986" cy="2603323"/>
          </a:xfrm>
          <a:prstGeom prst="rect">
            <a:avLst/>
          </a:prstGeom>
        </p:spPr>
      </p:pic>
      <p:sp>
        <p:nvSpPr>
          <p:cNvPr id="5" name="Text Placeholder 4"/>
          <p:cNvSpPr>
            <a:spLocks noGrp="1"/>
          </p:cNvSpPr>
          <p:nvPr>
            <p:ph type="body" sz="quarter" idx="10"/>
          </p:nvPr>
        </p:nvSpPr>
        <p:spPr>
          <a:xfrm>
            <a:off x="517525" y="1695450"/>
            <a:ext cx="5404810" cy="1778949"/>
          </a:xfrm>
        </p:spPr>
        <p:txBody>
          <a:bodyPr/>
          <a:lstStyle/>
          <a:p>
            <a:pPr>
              <a:spcBef>
                <a:spcPts val="2400"/>
              </a:spcBef>
              <a:spcAft>
                <a:spcPts val="0"/>
              </a:spcAft>
            </a:pPr>
            <a:r>
              <a:rPr lang="en-US" sz="2800" dirty="0"/>
              <a:t>HTML 5 in IE 9 &amp; 10</a:t>
            </a:r>
          </a:p>
          <a:p>
            <a:pPr>
              <a:spcBef>
                <a:spcPts val="2400"/>
              </a:spcBef>
              <a:spcAft>
                <a:spcPts val="0"/>
              </a:spcAft>
            </a:pPr>
            <a:r>
              <a:rPr lang="en-US" sz="2800" dirty="0"/>
              <a:t>HTML5 Deep Dive</a:t>
            </a:r>
          </a:p>
          <a:p>
            <a:pPr>
              <a:spcBef>
                <a:spcPts val="2400"/>
              </a:spcBef>
              <a:spcAft>
                <a:spcPts val="0"/>
              </a:spcAft>
            </a:pPr>
            <a:r>
              <a:rPr lang="en-US" sz="2800" dirty="0" err="1"/>
              <a:t>jQuery</a:t>
            </a:r>
            <a:r>
              <a:rPr lang="en-US" sz="2800" dirty="0"/>
              <a:t> Fundamentals</a:t>
            </a:r>
          </a:p>
        </p:txBody>
      </p:sp>
    </p:spTree>
    <p:extLst>
      <p:ext uri="{BB962C8B-B14F-4D97-AF65-F5344CB8AC3E}">
        <p14:creationId xmlns:p14="http://schemas.microsoft.com/office/powerpoint/2010/main" val="21619949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after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additive="base">
                                        <p:cTn id="7" dur="500" fill="hold"/>
                                        <p:tgtEl>
                                          <p:spTgt spid="5">
                                            <p:txEl>
                                              <p:pRg st="0" end="0"/>
                                            </p:txEl>
                                          </p:spTgt>
                                        </p:tgtEl>
                                        <p:attrNameLst>
                                          <p:attrName>ppt_x</p:attrName>
                                        </p:attrNameLst>
                                      </p:cBhvr>
                                      <p:tavLst>
                                        <p:tav tm="0">
                                          <p:val>
                                            <p:strVal val="1+#ppt_w/2"/>
                                          </p:val>
                                        </p:tav>
                                        <p:tav tm="100000">
                                          <p:val>
                                            <p:strVal val="#ppt_x"/>
                                          </p:val>
                                        </p:tav>
                                      </p:tavLst>
                                    </p:anim>
                                    <p:anim calcmode="lin" valueType="num">
                                      <p:cBhvr additive="base">
                                        <p:cTn id="8" dur="500" fill="hold"/>
                                        <p:tgtEl>
                                          <p:spTgt spid="5">
                                            <p:txEl>
                                              <p:pRg st="0" end="0"/>
                                            </p:txEl>
                                          </p:spTgt>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anim calcmode="lin" valueType="num">
                                      <p:cBhvr additive="base">
                                        <p:cTn id="11" dur="500" fill="hold"/>
                                        <p:tgtEl>
                                          <p:spTgt spid="5">
                                            <p:txEl>
                                              <p:pRg st="1" end="1"/>
                                            </p:txEl>
                                          </p:spTgt>
                                        </p:tgtEl>
                                        <p:attrNameLst>
                                          <p:attrName>ppt_x</p:attrName>
                                        </p:attrNameLst>
                                      </p:cBhvr>
                                      <p:tavLst>
                                        <p:tav tm="0">
                                          <p:val>
                                            <p:strVal val="1+#ppt_w/2"/>
                                          </p:val>
                                        </p:tav>
                                        <p:tav tm="100000">
                                          <p:val>
                                            <p:strVal val="#ppt_x"/>
                                          </p:val>
                                        </p:tav>
                                      </p:tavLst>
                                    </p:anim>
                                    <p:anim calcmode="lin" valueType="num">
                                      <p:cBhvr additive="base">
                                        <p:cTn id="12" dur="500" fill="hold"/>
                                        <p:tgtEl>
                                          <p:spTgt spid="5">
                                            <p:txEl>
                                              <p:pRg st="1" end="1"/>
                                            </p:txEl>
                                          </p:spTgt>
                                        </p:tgtEl>
                                        <p:attrNameLst>
                                          <p:attrName>ppt_y</p:attrName>
                                        </p:attrNameLst>
                                      </p:cBhvr>
                                      <p:tavLst>
                                        <p:tav tm="0">
                                          <p:val>
                                            <p:strVal val="#ppt_y"/>
                                          </p:val>
                                        </p:tav>
                                        <p:tav tm="100000">
                                          <p:val>
                                            <p:strVal val="#ppt_y"/>
                                          </p:val>
                                        </p:tav>
                                      </p:tavLst>
                                    </p:anim>
                                  </p:childTnLst>
                                </p:cTn>
                              </p:par>
                              <p:par>
                                <p:cTn id="13" presetID="2" presetClass="entr" presetSubtype="2" decel="100000" fill="hold" grpId="0" nodeType="withEffect">
                                  <p:stCondLst>
                                    <p:cond delay="0"/>
                                  </p:stCondLst>
                                  <p:childTnLst>
                                    <p:set>
                                      <p:cBhvr>
                                        <p:cTn id="14" dur="1" fill="hold">
                                          <p:stCondLst>
                                            <p:cond delay="0"/>
                                          </p:stCondLst>
                                        </p:cTn>
                                        <p:tgtEl>
                                          <p:spTgt spid="5">
                                            <p:txEl>
                                              <p:pRg st="2" end="2"/>
                                            </p:txEl>
                                          </p:spTgt>
                                        </p:tgtEl>
                                        <p:attrNameLst>
                                          <p:attrName>style.visibility</p:attrName>
                                        </p:attrNameLst>
                                      </p:cBhvr>
                                      <p:to>
                                        <p:strVal val="visible"/>
                                      </p:to>
                                    </p:set>
                                    <p:anim calcmode="lin" valueType="num">
                                      <p:cBhvr additive="base">
                                        <p:cTn id="15" dur="500" fill="hold"/>
                                        <p:tgtEl>
                                          <p:spTgt spid="5">
                                            <p:txEl>
                                              <p:pRg st="2" end="2"/>
                                            </p:txEl>
                                          </p:spTgt>
                                        </p:tgtEl>
                                        <p:attrNameLst>
                                          <p:attrName>ppt_x</p:attrName>
                                        </p:attrNameLst>
                                      </p:cBhvr>
                                      <p:tavLst>
                                        <p:tav tm="0">
                                          <p:val>
                                            <p:strVal val="1+#ppt_w/2"/>
                                          </p:val>
                                        </p:tav>
                                        <p:tav tm="100000">
                                          <p:val>
                                            <p:strVal val="#ppt_x"/>
                                          </p:val>
                                        </p:tav>
                                      </p:tavLst>
                                    </p:anim>
                                    <p:anim calcmode="lin" valueType="num">
                                      <p:cBhvr additive="base">
                                        <p:cTn id="16" dur="500" fill="hold"/>
                                        <p:tgtEl>
                                          <p:spTgt spid="5">
                                            <p:txEl>
                                              <p:pRg st="2" end="2"/>
                                            </p:txEl>
                                          </p:spTgt>
                                        </p:tgtEl>
                                        <p:attrNameLst>
                                          <p:attrName>ppt_y</p:attrName>
                                        </p:attrNameLst>
                                      </p:cBhvr>
                                      <p:tavLst>
                                        <p:tav tm="0">
                                          <p:val>
                                            <p:strVal val="#ppt_y"/>
                                          </p:val>
                                        </p:tav>
                                        <p:tav tm="100000">
                                          <p:val>
                                            <p:strVal val="#ppt_y"/>
                                          </p:val>
                                        </p:tav>
                                      </p:tavLst>
                                    </p:anim>
                                  </p:childTnLst>
                                </p:cTn>
                              </p:par>
                              <p:par>
                                <p:cTn id="17" presetID="2" presetClass="entr" presetSubtype="2" decel="100000" fill="hold" grpId="0" nodeType="withEffect">
                                  <p:stCondLst>
                                    <p:cond delay="250"/>
                                  </p:stCondLst>
                                  <p:childTnLst>
                                    <p:set>
                                      <p:cBhvr>
                                        <p:cTn id="18" dur="1" fill="hold">
                                          <p:stCondLst>
                                            <p:cond delay="0"/>
                                          </p:stCondLst>
                                        </p:cTn>
                                        <p:tgtEl>
                                          <p:spTgt spid="10"/>
                                        </p:tgtEl>
                                        <p:attrNameLst>
                                          <p:attrName>style.visibility</p:attrName>
                                        </p:attrNameLst>
                                      </p:cBhvr>
                                      <p:to>
                                        <p:strVal val="visible"/>
                                      </p:to>
                                    </p:set>
                                    <p:anim calcmode="lin" valueType="num">
                                      <p:cBhvr additive="base">
                                        <p:cTn id="19" dur="500" fill="hold"/>
                                        <p:tgtEl>
                                          <p:spTgt spid="10"/>
                                        </p:tgtEl>
                                        <p:attrNameLst>
                                          <p:attrName>ppt_x</p:attrName>
                                        </p:attrNameLst>
                                      </p:cBhvr>
                                      <p:tavLst>
                                        <p:tav tm="0">
                                          <p:val>
                                            <p:strVal val="1+#ppt_w/2"/>
                                          </p:val>
                                        </p:tav>
                                        <p:tav tm="100000">
                                          <p:val>
                                            <p:strVal val="#ppt_x"/>
                                          </p:val>
                                        </p:tav>
                                      </p:tavLst>
                                    </p:anim>
                                    <p:anim calcmode="lin" valueType="num">
                                      <p:cBhvr additive="base">
                                        <p:cTn id="20" dur="500" fill="hold"/>
                                        <p:tgtEl>
                                          <p:spTgt spid="1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5" grpId="0" uiExpand="1" build="p"/>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bwMode="auto">
          <a:xfrm>
            <a:off x="6078537" y="1695450"/>
            <a:ext cx="5597525" cy="4089124"/>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42814680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2477"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7" name="Title 6"/>
          <p:cNvSpPr>
            <a:spLocks noGrp="1"/>
          </p:cNvSpPr>
          <p:nvPr>
            <p:ph type="title"/>
          </p:nvPr>
        </p:nvSpPr>
        <p:spPr>
          <a:xfrm>
            <a:off x="519112" y="228600"/>
            <a:ext cx="11149013" cy="553998"/>
          </a:xfrm>
        </p:spPr>
        <p:txBody>
          <a:bodyPr/>
          <a:lstStyle/>
          <a:p>
            <a:r>
              <a:rPr lang="en-US" sz="4000" dirty="0"/>
              <a:t>Building Web Sites Using ASP.NET 4.5</a:t>
            </a:r>
          </a:p>
        </p:txBody>
      </p:sp>
      <p:sp>
        <p:nvSpPr>
          <p:cNvPr id="8" name="Freeform 25"/>
          <p:cNvSpPr>
            <a:spLocks noEditPoints="1"/>
          </p:cNvSpPr>
          <p:nvPr/>
        </p:nvSpPr>
        <p:spPr bwMode="black">
          <a:xfrm>
            <a:off x="8052086" y="2913848"/>
            <a:ext cx="1650426" cy="1652329"/>
          </a:xfrm>
          <a:custGeom>
            <a:avLst/>
            <a:gdLst>
              <a:gd name="T0" fmla="*/ 0 w 708"/>
              <a:gd name="T1" fmla="*/ 709 h 709"/>
              <a:gd name="T2" fmla="*/ 212 w 708"/>
              <a:gd name="T3" fmla="*/ 567 h 709"/>
              <a:gd name="T4" fmla="*/ 708 w 708"/>
              <a:gd name="T5" fmla="*/ 567 h 709"/>
              <a:gd name="T6" fmla="*/ 496 w 708"/>
              <a:gd name="T7" fmla="*/ 709 h 709"/>
              <a:gd name="T8" fmla="*/ 708 w 708"/>
              <a:gd name="T9" fmla="*/ 567 h 709"/>
              <a:gd name="T10" fmla="*/ 248 w 708"/>
              <a:gd name="T11" fmla="*/ 567 h 709"/>
              <a:gd name="T12" fmla="*/ 460 w 708"/>
              <a:gd name="T13" fmla="*/ 709 h 709"/>
              <a:gd name="T14" fmla="*/ 212 w 708"/>
              <a:gd name="T15" fmla="*/ 227 h 709"/>
              <a:gd name="T16" fmla="*/ 0 w 708"/>
              <a:gd name="T17" fmla="*/ 369 h 709"/>
              <a:gd name="T18" fmla="*/ 212 w 708"/>
              <a:gd name="T19" fmla="*/ 227 h 709"/>
              <a:gd name="T20" fmla="*/ 496 w 708"/>
              <a:gd name="T21" fmla="*/ 14 h 709"/>
              <a:gd name="T22" fmla="*/ 708 w 708"/>
              <a:gd name="T23" fmla="*/ 156 h 709"/>
              <a:gd name="T24" fmla="*/ 460 w 708"/>
              <a:gd name="T25" fmla="*/ 156 h 709"/>
              <a:gd name="T26" fmla="*/ 248 w 708"/>
              <a:gd name="T27" fmla="*/ 298 h 709"/>
              <a:gd name="T28" fmla="*/ 460 w 708"/>
              <a:gd name="T29" fmla="*/ 156 h 709"/>
              <a:gd name="T30" fmla="*/ 127 w 708"/>
              <a:gd name="T31" fmla="*/ 397 h 709"/>
              <a:gd name="T32" fmla="*/ 340 w 708"/>
              <a:gd name="T33" fmla="*/ 539 h 709"/>
              <a:gd name="T34" fmla="*/ 97 w 708"/>
              <a:gd name="T35" fmla="*/ 397 h 709"/>
              <a:gd name="T36" fmla="*/ 0 w 708"/>
              <a:gd name="T37" fmla="*/ 539 h 709"/>
              <a:gd name="T38" fmla="*/ 97 w 708"/>
              <a:gd name="T39" fmla="*/ 397 h 709"/>
              <a:gd name="T40" fmla="*/ 0 w 708"/>
              <a:gd name="T41" fmla="*/ 57 h 709"/>
              <a:gd name="T42" fmla="*/ 97 w 708"/>
              <a:gd name="T43" fmla="*/ 199 h 709"/>
              <a:gd name="T44" fmla="*/ 583 w 708"/>
              <a:gd name="T45" fmla="*/ 397 h 709"/>
              <a:gd name="T46" fmla="*/ 371 w 708"/>
              <a:gd name="T47" fmla="*/ 539 h 709"/>
              <a:gd name="T48" fmla="*/ 583 w 708"/>
              <a:gd name="T49" fmla="*/ 397 h 709"/>
              <a:gd name="T50" fmla="*/ 614 w 708"/>
              <a:gd name="T51" fmla="*/ 397 h 709"/>
              <a:gd name="T52" fmla="*/ 708 w 708"/>
              <a:gd name="T53" fmla="*/ 539 h 709"/>
              <a:gd name="T54" fmla="*/ 354 w 708"/>
              <a:gd name="T55" fmla="*/ 132 h 709"/>
              <a:gd name="T56" fmla="*/ 392 w 708"/>
              <a:gd name="T57" fmla="*/ 47 h 709"/>
              <a:gd name="T58" fmla="*/ 316 w 708"/>
              <a:gd name="T59" fmla="*/ 0 h 709"/>
              <a:gd name="T60" fmla="*/ 269 w 708"/>
              <a:gd name="T61" fmla="*/ 47 h 709"/>
              <a:gd name="T62" fmla="*/ 602 w 708"/>
              <a:gd name="T63" fmla="*/ 343 h 709"/>
              <a:gd name="T64" fmla="*/ 640 w 708"/>
              <a:gd name="T65" fmla="*/ 258 h 709"/>
              <a:gd name="T66" fmla="*/ 564 w 708"/>
              <a:gd name="T67" fmla="*/ 210 h 709"/>
              <a:gd name="T68" fmla="*/ 517 w 708"/>
              <a:gd name="T69" fmla="*/ 258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08" h="709">
                <a:moveTo>
                  <a:pt x="212" y="709"/>
                </a:moveTo>
                <a:lnTo>
                  <a:pt x="0" y="709"/>
                </a:lnTo>
                <a:lnTo>
                  <a:pt x="0" y="567"/>
                </a:lnTo>
                <a:lnTo>
                  <a:pt x="212" y="567"/>
                </a:lnTo>
                <a:lnTo>
                  <a:pt x="212" y="709"/>
                </a:lnTo>
                <a:close/>
                <a:moveTo>
                  <a:pt x="708" y="567"/>
                </a:moveTo>
                <a:lnTo>
                  <a:pt x="496" y="567"/>
                </a:lnTo>
                <a:lnTo>
                  <a:pt x="496" y="709"/>
                </a:lnTo>
                <a:lnTo>
                  <a:pt x="708" y="709"/>
                </a:lnTo>
                <a:lnTo>
                  <a:pt x="708" y="567"/>
                </a:lnTo>
                <a:close/>
                <a:moveTo>
                  <a:pt x="460" y="567"/>
                </a:moveTo>
                <a:lnTo>
                  <a:pt x="248" y="567"/>
                </a:lnTo>
                <a:lnTo>
                  <a:pt x="248" y="709"/>
                </a:lnTo>
                <a:lnTo>
                  <a:pt x="460" y="709"/>
                </a:lnTo>
                <a:lnTo>
                  <a:pt x="460" y="567"/>
                </a:lnTo>
                <a:close/>
                <a:moveTo>
                  <a:pt x="212" y="227"/>
                </a:moveTo>
                <a:lnTo>
                  <a:pt x="0" y="227"/>
                </a:lnTo>
                <a:lnTo>
                  <a:pt x="0" y="369"/>
                </a:lnTo>
                <a:lnTo>
                  <a:pt x="212" y="369"/>
                </a:lnTo>
                <a:lnTo>
                  <a:pt x="212" y="227"/>
                </a:lnTo>
                <a:close/>
                <a:moveTo>
                  <a:pt x="708" y="14"/>
                </a:moveTo>
                <a:lnTo>
                  <a:pt x="496" y="14"/>
                </a:lnTo>
                <a:lnTo>
                  <a:pt x="496" y="156"/>
                </a:lnTo>
                <a:lnTo>
                  <a:pt x="708" y="156"/>
                </a:lnTo>
                <a:lnTo>
                  <a:pt x="708" y="14"/>
                </a:lnTo>
                <a:close/>
                <a:moveTo>
                  <a:pt x="460" y="156"/>
                </a:moveTo>
                <a:lnTo>
                  <a:pt x="248" y="156"/>
                </a:lnTo>
                <a:lnTo>
                  <a:pt x="248" y="298"/>
                </a:lnTo>
                <a:lnTo>
                  <a:pt x="460" y="298"/>
                </a:lnTo>
                <a:lnTo>
                  <a:pt x="460" y="156"/>
                </a:lnTo>
                <a:close/>
                <a:moveTo>
                  <a:pt x="340" y="397"/>
                </a:moveTo>
                <a:lnTo>
                  <a:pt x="127" y="397"/>
                </a:lnTo>
                <a:lnTo>
                  <a:pt x="127" y="539"/>
                </a:lnTo>
                <a:lnTo>
                  <a:pt x="340" y="539"/>
                </a:lnTo>
                <a:lnTo>
                  <a:pt x="340" y="397"/>
                </a:lnTo>
                <a:close/>
                <a:moveTo>
                  <a:pt x="97" y="397"/>
                </a:moveTo>
                <a:lnTo>
                  <a:pt x="0" y="397"/>
                </a:lnTo>
                <a:lnTo>
                  <a:pt x="0" y="539"/>
                </a:lnTo>
                <a:lnTo>
                  <a:pt x="97" y="539"/>
                </a:lnTo>
                <a:lnTo>
                  <a:pt x="97" y="397"/>
                </a:lnTo>
                <a:close/>
                <a:moveTo>
                  <a:pt x="97" y="57"/>
                </a:moveTo>
                <a:lnTo>
                  <a:pt x="0" y="57"/>
                </a:lnTo>
                <a:lnTo>
                  <a:pt x="0" y="199"/>
                </a:lnTo>
                <a:lnTo>
                  <a:pt x="97" y="199"/>
                </a:lnTo>
                <a:lnTo>
                  <a:pt x="97" y="57"/>
                </a:lnTo>
                <a:close/>
                <a:moveTo>
                  <a:pt x="583" y="397"/>
                </a:moveTo>
                <a:lnTo>
                  <a:pt x="371" y="397"/>
                </a:lnTo>
                <a:lnTo>
                  <a:pt x="371" y="539"/>
                </a:lnTo>
                <a:lnTo>
                  <a:pt x="583" y="539"/>
                </a:lnTo>
                <a:lnTo>
                  <a:pt x="583" y="397"/>
                </a:lnTo>
                <a:close/>
                <a:moveTo>
                  <a:pt x="708" y="397"/>
                </a:moveTo>
                <a:lnTo>
                  <a:pt x="614" y="397"/>
                </a:lnTo>
                <a:lnTo>
                  <a:pt x="614" y="539"/>
                </a:lnTo>
                <a:lnTo>
                  <a:pt x="708" y="539"/>
                </a:lnTo>
                <a:lnTo>
                  <a:pt x="708" y="397"/>
                </a:lnTo>
                <a:close/>
                <a:moveTo>
                  <a:pt x="354" y="132"/>
                </a:moveTo>
                <a:lnTo>
                  <a:pt x="439" y="47"/>
                </a:lnTo>
                <a:lnTo>
                  <a:pt x="392" y="47"/>
                </a:lnTo>
                <a:lnTo>
                  <a:pt x="392" y="0"/>
                </a:lnTo>
                <a:lnTo>
                  <a:pt x="316" y="0"/>
                </a:lnTo>
                <a:lnTo>
                  <a:pt x="316" y="47"/>
                </a:lnTo>
                <a:lnTo>
                  <a:pt x="269" y="47"/>
                </a:lnTo>
                <a:lnTo>
                  <a:pt x="354" y="132"/>
                </a:lnTo>
                <a:close/>
                <a:moveTo>
                  <a:pt x="602" y="343"/>
                </a:moveTo>
                <a:lnTo>
                  <a:pt x="687" y="258"/>
                </a:lnTo>
                <a:lnTo>
                  <a:pt x="640" y="258"/>
                </a:lnTo>
                <a:lnTo>
                  <a:pt x="640" y="210"/>
                </a:lnTo>
                <a:lnTo>
                  <a:pt x="564" y="210"/>
                </a:lnTo>
                <a:lnTo>
                  <a:pt x="564" y="258"/>
                </a:lnTo>
                <a:lnTo>
                  <a:pt x="517" y="258"/>
                </a:lnTo>
                <a:lnTo>
                  <a:pt x="602" y="34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305" tIns="41153" rIns="82305" bIns="41153" numCol="1" anchor="t" anchorCtr="0" compatLnSpc="1">
            <a:prstTxWarp prst="textNoShape">
              <a:avLst/>
            </a:prstTxWarp>
          </a:bodyPr>
          <a:lstStyle/>
          <a:p>
            <a:endParaRPr lang="en-US" sz="1600"/>
          </a:p>
        </p:txBody>
      </p:sp>
      <p:sp>
        <p:nvSpPr>
          <p:cNvPr id="5" name="Text Placeholder 4"/>
          <p:cNvSpPr>
            <a:spLocks noGrp="1"/>
          </p:cNvSpPr>
          <p:nvPr>
            <p:ph type="body" sz="quarter" idx="10"/>
          </p:nvPr>
        </p:nvSpPr>
        <p:spPr>
          <a:xfrm>
            <a:off x="517525" y="1695450"/>
            <a:ext cx="5404810" cy="2474524"/>
          </a:xfrm>
        </p:spPr>
        <p:txBody>
          <a:bodyPr/>
          <a:lstStyle/>
          <a:p>
            <a:pPr>
              <a:spcBef>
                <a:spcPts val="2400"/>
              </a:spcBef>
              <a:spcAft>
                <a:spcPts val="0"/>
              </a:spcAft>
            </a:pPr>
            <a:r>
              <a:rPr lang="en-US" sz="2800" dirty="0"/>
              <a:t>MVC 4.0</a:t>
            </a:r>
          </a:p>
          <a:p>
            <a:pPr>
              <a:spcBef>
                <a:spcPts val="2400"/>
              </a:spcBef>
              <a:spcAft>
                <a:spcPts val="0"/>
              </a:spcAft>
            </a:pPr>
            <a:r>
              <a:rPr lang="en-US" sz="2800" dirty="0"/>
              <a:t>What is the Entity Framework?</a:t>
            </a:r>
          </a:p>
          <a:p>
            <a:pPr>
              <a:spcBef>
                <a:spcPts val="2400"/>
              </a:spcBef>
              <a:spcAft>
                <a:spcPts val="0"/>
              </a:spcAft>
            </a:pPr>
            <a:r>
              <a:rPr lang="en-US" sz="2800" dirty="0"/>
              <a:t>Database-first, Model-first, Code-First</a:t>
            </a:r>
          </a:p>
          <a:p>
            <a:pPr>
              <a:spcBef>
                <a:spcPts val="2400"/>
              </a:spcBef>
              <a:spcAft>
                <a:spcPts val="0"/>
              </a:spcAft>
            </a:pPr>
            <a:r>
              <a:rPr lang="en-US" sz="2800" dirty="0"/>
              <a:t>Demos</a:t>
            </a:r>
          </a:p>
        </p:txBody>
      </p:sp>
    </p:spTree>
    <p:extLst>
      <p:ext uri="{BB962C8B-B14F-4D97-AF65-F5344CB8AC3E}">
        <p14:creationId xmlns:p14="http://schemas.microsoft.com/office/powerpoint/2010/main" val="39019259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after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additive="base">
                                        <p:cTn id="7" dur="500" fill="hold"/>
                                        <p:tgtEl>
                                          <p:spTgt spid="5">
                                            <p:txEl>
                                              <p:pRg st="0" end="0"/>
                                            </p:txEl>
                                          </p:spTgt>
                                        </p:tgtEl>
                                        <p:attrNameLst>
                                          <p:attrName>ppt_x</p:attrName>
                                        </p:attrNameLst>
                                      </p:cBhvr>
                                      <p:tavLst>
                                        <p:tav tm="0">
                                          <p:val>
                                            <p:strVal val="1+#ppt_w/2"/>
                                          </p:val>
                                        </p:tav>
                                        <p:tav tm="100000">
                                          <p:val>
                                            <p:strVal val="#ppt_x"/>
                                          </p:val>
                                        </p:tav>
                                      </p:tavLst>
                                    </p:anim>
                                    <p:anim calcmode="lin" valueType="num">
                                      <p:cBhvr additive="base">
                                        <p:cTn id="8" dur="500" fill="hold"/>
                                        <p:tgtEl>
                                          <p:spTgt spid="5">
                                            <p:txEl>
                                              <p:pRg st="0" end="0"/>
                                            </p:txEl>
                                          </p:spTgt>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anim calcmode="lin" valueType="num">
                                      <p:cBhvr additive="base">
                                        <p:cTn id="11" dur="500" fill="hold"/>
                                        <p:tgtEl>
                                          <p:spTgt spid="5">
                                            <p:txEl>
                                              <p:pRg st="1" end="1"/>
                                            </p:txEl>
                                          </p:spTgt>
                                        </p:tgtEl>
                                        <p:attrNameLst>
                                          <p:attrName>ppt_x</p:attrName>
                                        </p:attrNameLst>
                                      </p:cBhvr>
                                      <p:tavLst>
                                        <p:tav tm="0">
                                          <p:val>
                                            <p:strVal val="1+#ppt_w/2"/>
                                          </p:val>
                                        </p:tav>
                                        <p:tav tm="100000">
                                          <p:val>
                                            <p:strVal val="#ppt_x"/>
                                          </p:val>
                                        </p:tav>
                                      </p:tavLst>
                                    </p:anim>
                                    <p:anim calcmode="lin" valueType="num">
                                      <p:cBhvr additive="base">
                                        <p:cTn id="12" dur="500" fill="hold"/>
                                        <p:tgtEl>
                                          <p:spTgt spid="5">
                                            <p:txEl>
                                              <p:pRg st="1" end="1"/>
                                            </p:txEl>
                                          </p:spTgt>
                                        </p:tgtEl>
                                        <p:attrNameLst>
                                          <p:attrName>ppt_y</p:attrName>
                                        </p:attrNameLst>
                                      </p:cBhvr>
                                      <p:tavLst>
                                        <p:tav tm="0">
                                          <p:val>
                                            <p:strVal val="#ppt_y"/>
                                          </p:val>
                                        </p:tav>
                                        <p:tav tm="100000">
                                          <p:val>
                                            <p:strVal val="#ppt_y"/>
                                          </p:val>
                                        </p:tav>
                                      </p:tavLst>
                                    </p:anim>
                                  </p:childTnLst>
                                </p:cTn>
                              </p:par>
                              <p:par>
                                <p:cTn id="13" presetID="2" presetClass="entr" presetSubtype="2" decel="100000" fill="hold" grpId="0" nodeType="withEffect">
                                  <p:stCondLst>
                                    <p:cond delay="0"/>
                                  </p:stCondLst>
                                  <p:childTnLst>
                                    <p:set>
                                      <p:cBhvr>
                                        <p:cTn id="14" dur="1" fill="hold">
                                          <p:stCondLst>
                                            <p:cond delay="0"/>
                                          </p:stCondLst>
                                        </p:cTn>
                                        <p:tgtEl>
                                          <p:spTgt spid="5">
                                            <p:txEl>
                                              <p:pRg st="2" end="2"/>
                                            </p:txEl>
                                          </p:spTgt>
                                        </p:tgtEl>
                                        <p:attrNameLst>
                                          <p:attrName>style.visibility</p:attrName>
                                        </p:attrNameLst>
                                      </p:cBhvr>
                                      <p:to>
                                        <p:strVal val="visible"/>
                                      </p:to>
                                    </p:set>
                                    <p:anim calcmode="lin" valueType="num">
                                      <p:cBhvr additive="base">
                                        <p:cTn id="15" dur="500" fill="hold"/>
                                        <p:tgtEl>
                                          <p:spTgt spid="5">
                                            <p:txEl>
                                              <p:pRg st="2" end="2"/>
                                            </p:txEl>
                                          </p:spTgt>
                                        </p:tgtEl>
                                        <p:attrNameLst>
                                          <p:attrName>ppt_x</p:attrName>
                                        </p:attrNameLst>
                                      </p:cBhvr>
                                      <p:tavLst>
                                        <p:tav tm="0">
                                          <p:val>
                                            <p:strVal val="1+#ppt_w/2"/>
                                          </p:val>
                                        </p:tav>
                                        <p:tav tm="100000">
                                          <p:val>
                                            <p:strVal val="#ppt_x"/>
                                          </p:val>
                                        </p:tav>
                                      </p:tavLst>
                                    </p:anim>
                                    <p:anim calcmode="lin" valueType="num">
                                      <p:cBhvr additive="base">
                                        <p:cTn id="16" dur="500" fill="hold"/>
                                        <p:tgtEl>
                                          <p:spTgt spid="5">
                                            <p:txEl>
                                              <p:pRg st="2" end="2"/>
                                            </p:txEl>
                                          </p:spTgt>
                                        </p:tgtEl>
                                        <p:attrNameLst>
                                          <p:attrName>ppt_y</p:attrName>
                                        </p:attrNameLst>
                                      </p:cBhvr>
                                      <p:tavLst>
                                        <p:tav tm="0">
                                          <p:val>
                                            <p:strVal val="#ppt_y"/>
                                          </p:val>
                                        </p:tav>
                                        <p:tav tm="100000">
                                          <p:val>
                                            <p:strVal val="#ppt_y"/>
                                          </p:val>
                                        </p:tav>
                                      </p:tavLst>
                                    </p:anim>
                                  </p:childTnLst>
                                </p:cTn>
                              </p:par>
                              <p:par>
                                <p:cTn id="17" presetID="2" presetClass="entr" presetSubtype="2" decel="100000" fill="hold" grpId="0" nodeType="withEffect">
                                  <p:stCondLst>
                                    <p:cond delay="0"/>
                                  </p:stCondLst>
                                  <p:childTnLst>
                                    <p:set>
                                      <p:cBhvr>
                                        <p:cTn id="18" dur="1" fill="hold">
                                          <p:stCondLst>
                                            <p:cond delay="0"/>
                                          </p:stCondLst>
                                        </p:cTn>
                                        <p:tgtEl>
                                          <p:spTgt spid="5">
                                            <p:txEl>
                                              <p:pRg st="3" end="3"/>
                                            </p:txEl>
                                          </p:spTgt>
                                        </p:tgtEl>
                                        <p:attrNameLst>
                                          <p:attrName>style.visibility</p:attrName>
                                        </p:attrNameLst>
                                      </p:cBhvr>
                                      <p:to>
                                        <p:strVal val="visible"/>
                                      </p:to>
                                    </p:set>
                                    <p:anim calcmode="lin" valueType="num">
                                      <p:cBhvr additive="base">
                                        <p:cTn id="19" dur="500" fill="hold"/>
                                        <p:tgtEl>
                                          <p:spTgt spid="5">
                                            <p:txEl>
                                              <p:pRg st="3" end="3"/>
                                            </p:txEl>
                                          </p:spTgt>
                                        </p:tgtEl>
                                        <p:attrNameLst>
                                          <p:attrName>ppt_x</p:attrName>
                                        </p:attrNameLst>
                                      </p:cBhvr>
                                      <p:tavLst>
                                        <p:tav tm="0">
                                          <p:val>
                                            <p:strVal val="1+#ppt_w/2"/>
                                          </p:val>
                                        </p:tav>
                                        <p:tav tm="100000">
                                          <p:val>
                                            <p:strVal val="#ppt_x"/>
                                          </p:val>
                                        </p:tav>
                                      </p:tavLst>
                                    </p:anim>
                                    <p:anim calcmode="lin" valueType="num">
                                      <p:cBhvr additive="base">
                                        <p:cTn id="20" dur="500" fill="hold"/>
                                        <p:tgtEl>
                                          <p:spTgt spid="5">
                                            <p:txEl>
                                              <p:pRg st="3" end="3"/>
                                            </p:txEl>
                                          </p:spTgt>
                                        </p:tgtEl>
                                        <p:attrNameLst>
                                          <p:attrName>ppt_y</p:attrName>
                                        </p:attrNameLst>
                                      </p:cBhvr>
                                      <p:tavLst>
                                        <p:tav tm="0">
                                          <p:val>
                                            <p:strVal val="#ppt_y"/>
                                          </p:val>
                                        </p:tav>
                                        <p:tav tm="100000">
                                          <p:val>
                                            <p:strVal val="#ppt_y"/>
                                          </p:val>
                                        </p:tav>
                                      </p:tavLst>
                                    </p:anim>
                                  </p:childTnLst>
                                </p:cTn>
                              </p:par>
                              <p:par>
                                <p:cTn id="21" presetID="2" presetClass="entr" presetSubtype="2" decel="100000" fill="hold" grpId="0" nodeType="withEffect">
                                  <p:stCondLst>
                                    <p:cond delay="250"/>
                                  </p:stCondLst>
                                  <p:childTnLst>
                                    <p:set>
                                      <p:cBhvr>
                                        <p:cTn id="22" dur="1" fill="hold">
                                          <p:stCondLst>
                                            <p:cond delay="0"/>
                                          </p:stCondLst>
                                        </p:cTn>
                                        <p:tgtEl>
                                          <p:spTgt spid="10"/>
                                        </p:tgtEl>
                                        <p:attrNameLst>
                                          <p:attrName>style.visibility</p:attrName>
                                        </p:attrNameLst>
                                      </p:cBhvr>
                                      <p:to>
                                        <p:strVal val="visible"/>
                                      </p:to>
                                    </p:set>
                                    <p:anim calcmode="lin" valueType="num">
                                      <p:cBhvr additive="base">
                                        <p:cTn id="23" dur="500" fill="hold"/>
                                        <p:tgtEl>
                                          <p:spTgt spid="10"/>
                                        </p:tgtEl>
                                        <p:attrNameLst>
                                          <p:attrName>ppt_x</p:attrName>
                                        </p:attrNameLst>
                                      </p:cBhvr>
                                      <p:tavLst>
                                        <p:tav tm="0">
                                          <p:val>
                                            <p:strVal val="1+#ppt_w/2"/>
                                          </p:val>
                                        </p:tav>
                                        <p:tav tm="100000">
                                          <p:val>
                                            <p:strVal val="#ppt_x"/>
                                          </p:val>
                                        </p:tav>
                                      </p:tavLst>
                                    </p:anim>
                                    <p:anim calcmode="lin" valueType="num">
                                      <p:cBhvr additive="base">
                                        <p:cTn id="24" dur="500" fill="hold"/>
                                        <p:tgtEl>
                                          <p:spTgt spid="1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5" grpId="0" uiExpand="1" build="p"/>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bwMode="auto">
          <a:xfrm>
            <a:off x="6078537" y="1695450"/>
            <a:ext cx="5597525" cy="4089124"/>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67747084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3501"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7" name="Title 6"/>
          <p:cNvSpPr>
            <a:spLocks noGrp="1"/>
          </p:cNvSpPr>
          <p:nvPr>
            <p:ph type="title"/>
          </p:nvPr>
        </p:nvSpPr>
        <p:spPr>
          <a:xfrm>
            <a:off x="519112" y="228600"/>
            <a:ext cx="11149013" cy="553998"/>
          </a:xfrm>
        </p:spPr>
        <p:txBody>
          <a:bodyPr/>
          <a:lstStyle/>
          <a:p>
            <a:r>
              <a:rPr lang="en-US" sz="4000" dirty="0"/>
              <a:t>Building Web APIs in Windows Azure</a:t>
            </a:r>
          </a:p>
        </p:txBody>
      </p:sp>
      <p:sp>
        <p:nvSpPr>
          <p:cNvPr id="9" name="Freeform 40"/>
          <p:cNvSpPr>
            <a:spLocks noEditPoints="1"/>
          </p:cNvSpPr>
          <p:nvPr/>
        </p:nvSpPr>
        <p:spPr bwMode="black">
          <a:xfrm>
            <a:off x="7862017" y="2762708"/>
            <a:ext cx="2030564" cy="1954608"/>
          </a:xfrm>
          <a:custGeom>
            <a:avLst/>
            <a:gdLst>
              <a:gd name="T0" fmla="*/ 461 w 891"/>
              <a:gd name="T1" fmla="*/ 470 h 859"/>
              <a:gd name="T2" fmla="*/ 793 w 891"/>
              <a:gd name="T3" fmla="*/ 489 h 859"/>
              <a:gd name="T4" fmla="*/ 707 w 891"/>
              <a:gd name="T5" fmla="*/ 787 h 859"/>
              <a:gd name="T6" fmla="*/ 375 w 891"/>
              <a:gd name="T7" fmla="*/ 767 h 859"/>
              <a:gd name="T8" fmla="*/ 461 w 891"/>
              <a:gd name="T9" fmla="*/ 470 h 859"/>
              <a:gd name="T10" fmla="*/ 430 w 891"/>
              <a:gd name="T11" fmla="*/ 387 h 859"/>
              <a:gd name="T12" fmla="*/ 517 w 891"/>
              <a:gd name="T13" fmla="*/ 90 h 859"/>
              <a:gd name="T14" fmla="*/ 184 w 891"/>
              <a:gd name="T15" fmla="*/ 71 h 859"/>
              <a:gd name="T16" fmla="*/ 98 w 891"/>
              <a:gd name="T17" fmla="*/ 368 h 859"/>
              <a:gd name="T18" fmla="*/ 430 w 891"/>
              <a:gd name="T19" fmla="*/ 387 h 859"/>
              <a:gd name="T20" fmla="*/ 83 w 891"/>
              <a:gd name="T21" fmla="*/ 421 h 859"/>
              <a:gd name="T22" fmla="*/ 0 w 891"/>
              <a:gd name="T23" fmla="*/ 703 h 859"/>
              <a:gd name="T24" fmla="*/ 0 w 891"/>
              <a:gd name="T25" fmla="*/ 706 h 859"/>
              <a:gd name="T26" fmla="*/ 7 w 891"/>
              <a:gd name="T27" fmla="*/ 712 h 859"/>
              <a:gd name="T28" fmla="*/ 9 w 891"/>
              <a:gd name="T29" fmla="*/ 712 h 859"/>
              <a:gd name="T30" fmla="*/ 329 w 891"/>
              <a:gd name="T31" fmla="*/ 737 h 859"/>
              <a:gd name="T32" fmla="*/ 415 w 891"/>
              <a:gd name="T33" fmla="*/ 440 h 859"/>
              <a:gd name="T34" fmla="*/ 83 w 891"/>
              <a:gd name="T35" fmla="*/ 421 h 859"/>
              <a:gd name="T36" fmla="*/ 883 w 891"/>
              <a:gd name="T37" fmla="*/ 147 h 859"/>
              <a:gd name="T38" fmla="*/ 882 w 891"/>
              <a:gd name="T39" fmla="*/ 147 h 859"/>
              <a:gd name="T40" fmla="*/ 561 w 891"/>
              <a:gd name="T41" fmla="*/ 122 h 859"/>
              <a:gd name="T42" fmla="*/ 475 w 891"/>
              <a:gd name="T43" fmla="*/ 419 h 859"/>
              <a:gd name="T44" fmla="*/ 808 w 891"/>
              <a:gd name="T45" fmla="*/ 438 h 859"/>
              <a:gd name="T46" fmla="*/ 891 w 891"/>
              <a:gd name="T47" fmla="*/ 154 h 859"/>
              <a:gd name="T48" fmla="*/ 891 w 891"/>
              <a:gd name="T49" fmla="*/ 153 h 859"/>
              <a:gd name="T50" fmla="*/ 883 w 891"/>
              <a:gd name="T51" fmla="*/ 147 h 8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891" h="859">
                <a:moveTo>
                  <a:pt x="461" y="470"/>
                </a:moveTo>
                <a:cubicBezTo>
                  <a:pt x="535" y="522"/>
                  <a:pt x="620" y="562"/>
                  <a:pt x="793" y="489"/>
                </a:cubicBezTo>
                <a:cubicBezTo>
                  <a:pt x="793" y="489"/>
                  <a:pt x="793" y="489"/>
                  <a:pt x="707" y="787"/>
                </a:cubicBezTo>
                <a:cubicBezTo>
                  <a:pt x="534" y="859"/>
                  <a:pt x="449" y="818"/>
                  <a:pt x="375" y="767"/>
                </a:cubicBezTo>
                <a:cubicBezTo>
                  <a:pt x="375" y="767"/>
                  <a:pt x="375" y="767"/>
                  <a:pt x="461" y="470"/>
                </a:cubicBezTo>
                <a:close/>
                <a:moveTo>
                  <a:pt x="430" y="387"/>
                </a:moveTo>
                <a:cubicBezTo>
                  <a:pt x="517" y="90"/>
                  <a:pt x="517" y="90"/>
                  <a:pt x="517" y="90"/>
                </a:cubicBezTo>
                <a:cubicBezTo>
                  <a:pt x="441" y="41"/>
                  <a:pt x="357" y="0"/>
                  <a:pt x="184" y="71"/>
                </a:cubicBezTo>
                <a:cubicBezTo>
                  <a:pt x="98" y="368"/>
                  <a:pt x="98" y="368"/>
                  <a:pt x="98" y="368"/>
                </a:cubicBezTo>
                <a:cubicBezTo>
                  <a:pt x="271" y="297"/>
                  <a:pt x="354" y="337"/>
                  <a:pt x="430" y="387"/>
                </a:cubicBezTo>
                <a:close/>
                <a:moveTo>
                  <a:pt x="83" y="421"/>
                </a:moveTo>
                <a:cubicBezTo>
                  <a:pt x="0" y="703"/>
                  <a:pt x="0" y="703"/>
                  <a:pt x="0" y="703"/>
                </a:cubicBezTo>
                <a:cubicBezTo>
                  <a:pt x="0" y="704"/>
                  <a:pt x="0" y="704"/>
                  <a:pt x="0" y="706"/>
                </a:cubicBezTo>
                <a:cubicBezTo>
                  <a:pt x="0" y="709"/>
                  <a:pt x="3" y="712"/>
                  <a:pt x="7" y="712"/>
                </a:cubicBezTo>
                <a:cubicBezTo>
                  <a:pt x="9" y="712"/>
                  <a:pt x="9" y="712"/>
                  <a:pt x="9" y="712"/>
                </a:cubicBezTo>
                <a:cubicBezTo>
                  <a:pt x="175" y="646"/>
                  <a:pt x="256" y="687"/>
                  <a:pt x="329" y="737"/>
                </a:cubicBezTo>
                <a:cubicBezTo>
                  <a:pt x="415" y="440"/>
                  <a:pt x="415" y="440"/>
                  <a:pt x="415" y="440"/>
                </a:cubicBezTo>
                <a:cubicBezTo>
                  <a:pt x="339" y="389"/>
                  <a:pt x="256" y="348"/>
                  <a:pt x="83" y="421"/>
                </a:cubicBezTo>
                <a:close/>
                <a:moveTo>
                  <a:pt x="883" y="147"/>
                </a:moveTo>
                <a:cubicBezTo>
                  <a:pt x="882" y="147"/>
                  <a:pt x="882" y="147"/>
                  <a:pt x="882" y="147"/>
                </a:cubicBezTo>
                <a:cubicBezTo>
                  <a:pt x="716" y="212"/>
                  <a:pt x="634" y="172"/>
                  <a:pt x="561" y="122"/>
                </a:cubicBezTo>
                <a:cubicBezTo>
                  <a:pt x="475" y="419"/>
                  <a:pt x="475" y="419"/>
                  <a:pt x="475" y="419"/>
                </a:cubicBezTo>
                <a:cubicBezTo>
                  <a:pt x="551" y="468"/>
                  <a:pt x="634" y="509"/>
                  <a:pt x="808" y="438"/>
                </a:cubicBezTo>
                <a:cubicBezTo>
                  <a:pt x="891" y="154"/>
                  <a:pt x="891" y="154"/>
                  <a:pt x="891" y="154"/>
                </a:cubicBezTo>
                <a:cubicBezTo>
                  <a:pt x="891" y="153"/>
                  <a:pt x="891" y="153"/>
                  <a:pt x="891" y="153"/>
                </a:cubicBezTo>
                <a:cubicBezTo>
                  <a:pt x="891" y="150"/>
                  <a:pt x="888" y="147"/>
                  <a:pt x="883" y="14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 name="Text Placeholder 4"/>
          <p:cNvSpPr>
            <a:spLocks noGrp="1"/>
          </p:cNvSpPr>
          <p:nvPr>
            <p:ph type="body" sz="quarter" idx="10"/>
          </p:nvPr>
        </p:nvSpPr>
        <p:spPr>
          <a:xfrm>
            <a:off x="517525" y="1695450"/>
            <a:ext cx="5404810" cy="2554545"/>
          </a:xfrm>
        </p:spPr>
        <p:txBody>
          <a:bodyPr/>
          <a:lstStyle/>
          <a:p>
            <a:pPr>
              <a:spcBef>
                <a:spcPts val="2400"/>
              </a:spcBef>
              <a:spcAft>
                <a:spcPts val="0"/>
              </a:spcAft>
            </a:pPr>
            <a:r>
              <a:rPr lang="en-US" sz="2800" dirty="0"/>
              <a:t>Why all the hype </a:t>
            </a:r>
            <a:r>
              <a:rPr lang="en-US" sz="2800" dirty="0" smtClean="0"/>
              <a:t>for </a:t>
            </a:r>
            <a:r>
              <a:rPr lang="en-US" sz="2800" dirty="0"/>
              <a:t>Web APIs?</a:t>
            </a:r>
          </a:p>
          <a:p>
            <a:pPr>
              <a:spcBef>
                <a:spcPts val="2400"/>
              </a:spcBef>
              <a:spcAft>
                <a:spcPts val="0"/>
              </a:spcAft>
            </a:pPr>
            <a:r>
              <a:rPr lang="en-US" sz="2800" dirty="0"/>
              <a:t>Building Web APIs for browser/JSON clients</a:t>
            </a:r>
          </a:p>
          <a:p>
            <a:pPr>
              <a:spcBef>
                <a:spcPts val="2400"/>
              </a:spcBef>
              <a:spcAft>
                <a:spcPts val="0"/>
              </a:spcAft>
            </a:pPr>
            <a:r>
              <a:rPr lang="en-US" sz="2800" dirty="0"/>
              <a:t>Building Web APIs for </a:t>
            </a:r>
            <a:r>
              <a:rPr lang="en-US" sz="2800" dirty="0" smtClean="0"/>
              <a:t>native</a:t>
            </a:r>
            <a:br>
              <a:rPr lang="en-US" sz="2800" dirty="0" smtClean="0"/>
            </a:br>
            <a:r>
              <a:rPr lang="en-US" sz="2800" dirty="0" smtClean="0"/>
              <a:t>/</a:t>
            </a:r>
            <a:r>
              <a:rPr lang="en-US" sz="2800" dirty="0"/>
              <a:t>non-browser clients</a:t>
            </a:r>
          </a:p>
        </p:txBody>
      </p:sp>
    </p:spTree>
    <p:extLst>
      <p:ext uri="{BB962C8B-B14F-4D97-AF65-F5344CB8AC3E}">
        <p14:creationId xmlns:p14="http://schemas.microsoft.com/office/powerpoint/2010/main" val="24161029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after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additive="base">
                                        <p:cTn id="7" dur="500" fill="hold"/>
                                        <p:tgtEl>
                                          <p:spTgt spid="5">
                                            <p:txEl>
                                              <p:pRg st="0" end="0"/>
                                            </p:txEl>
                                          </p:spTgt>
                                        </p:tgtEl>
                                        <p:attrNameLst>
                                          <p:attrName>ppt_x</p:attrName>
                                        </p:attrNameLst>
                                      </p:cBhvr>
                                      <p:tavLst>
                                        <p:tav tm="0">
                                          <p:val>
                                            <p:strVal val="1+#ppt_w/2"/>
                                          </p:val>
                                        </p:tav>
                                        <p:tav tm="100000">
                                          <p:val>
                                            <p:strVal val="#ppt_x"/>
                                          </p:val>
                                        </p:tav>
                                      </p:tavLst>
                                    </p:anim>
                                    <p:anim calcmode="lin" valueType="num">
                                      <p:cBhvr additive="base">
                                        <p:cTn id="8" dur="500" fill="hold"/>
                                        <p:tgtEl>
                                          <p:spTgt spid="5">
                                            <p:txEl>
                                              <p:pRg st="0" end="0"/>
                                            </p:txEl>
                                          </p:spTgt>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anim calcmode="lin" valueType="num">
                                      <p:cBhvr additive="base">
                                        <p:cTn id="11" dur="500" fill="hold"/>
                                        <p:tgtEl>
                                          <p:spTgt spid="5">
                                            <p:txEl>
                                              <p:pRg st="1" end="1"/>
                                            </p:txEl>
                                          </p:spTgt>
                                        </p:tgtEl>
                                        <p:attrNameLst>
                                          <p:attrName>ppt_x</p:attrName>
                                        </p:attrNameLst>
                                      </p:cBhvr>
                                      <p:tavLst>
                                        <p:tav tm="0">
                                          <p:val>
                                            <p:strVal val="1+#ppt_w/2"/>
                                          </p:val>
                                        </p:tav>
                                        <p:tav tm="100000">
                                          <p:val>
                                            <p:strVal val="#ppt_x"/>
                                          </p:val>
                                        </p:tav>
                                      </p:tavLst>
                                    </p:anim>
                                    <p:anim calcmode="lin" valueType="num">
                                      <p:cBhvr additive="base">
                                        <p:cTn id="12" dur="500" fill="hold"/>
                                        <p:tgtEl>
                                          <p:spTgt spid="5">
                                            <p:txEl>
                                              <p:pRg st="1" end="1"/>
                                            </p:txEl>
                                          </p:spTgt>
                                        </p:tgtEl>
                                        <p:attrNameLst>
                                          <p:attrName>ppt_y</p:attrName>
                                        </p:attrNameLst>
                                      </p:cBhvr>
                                      <p:tavLst>
                                        <p:tav tm="0">
                                          <p:val>
                                            <p:strVal val="#ppt_y"/>
                                          </p:val>
                                        </p:tav>
                                        <p:tav tm="100000">
                                          <p:val>
                                            <p:strVal val="#ppt_y"/>
                                          </p:val>
                                        </p:tav>
                                      </p:tavLst>
                                    </p:anim>
                                  </p:childTnLst>
                                </p:cTn>
                              </p:par>
                              <p:par>
                                <p:cTn id="13" presetID="2" presetClass="entr" presetSubtype="2" decel="100000" fill="hold" grpId="0" nodeType="withEffect">
                                  <p:stCondLst>
                                    <p:cond delay="0"/>
                                  </p:stCondLst>
                                  <p:childTnLst>
                                    <p:set>
                                      <p:cBhvr>
                                        <p:cTn id="14" dur="1" fill="hold">
                                          <p:stCondLst>
                                            <p:cond delay="0"/>
                                          </p:stCondLst>
                                        </p:cTn>
                                        <p:tgtEl>
                                          <p:spTgt spid="5">
                                            <p:txEl>
                                              <p:pRg st="2" end="2"/>
                                            </p:txEl>
                                          </p:spTgt>
                                        </p:tgtEl>
                                        <p:attrNameLst>
                                          <p:attrName>style.visibility</p:attrName>
                                        </p:attrNameLst>
                                      </p:cBhvr>
                                      <p:to>
                                        <p:strVal val="visible"/>
                                      </p:to>
                                    </p:set>
                                    <p:anim calcmode="lin" valueType="num">
                                      <p:cBhvr additive="base">
                                        <p:cTn id="15" dur="500" fill="hold"/>
                                        <p:tgtEl>
                                          <p:spTgt spid="5">
                                            <p:txEl>
                                              <p:pRg st="2" end="2"/>
                                            </p:txEl>
                                          </p:spTgt>
                                        </p:tgtEl>
                                        <p:attrNameLst>
                                          <p:attrName>ppt_x</p:attrName>
                                        </p:attrNameLst>
                                      </p:cBhvr>
                                      <p:tavLst>
                                        <p:tav tm="0">
                                          <p:val>
                                            <p:strVal val="1+#ppt_w/2"/>
                                          </p:val>
                                        </p:tav>
                                        <p:tav tm="100000">
                                          <p:val>
                                            <p:strVal val="#ppt_x"/>
                                          </p:val>
                                        </p:tav>
                                      </p:tavLst>
                                    </p:anim>
                                    <p:anim calcmode="lin" valueType="num">
                                      <p:cBhvr additive="base">
                                        <p:cTn id="16" dur="500" fill="hold"/>
                                        <p:tgtEl>
                                          <p:spTgt spid="5">
                                            <p:txEl>
                                              <p:pRg st="2" end="2"/>
                                            </p:txEl>
                                          </p:spTgt>
                                        </p:tgtEl>
                                        <p:attrNameLst>
                                          <p:attrName>ppt_y</p:attrName>
                                        </p:attrNameLst>
                                      </p:cBhvr>
                                      <p:tavLst>
                                        <p:tav tm="0">
                                          <p:val>
                                            <p:strVal val="#ppt_y"/>
                                          </p:val>
                                        </p:tav>
                                        <p:tav tm="100000">
                                          <p:val>
                                            <p:strVal val="#ppt_y"/>
                                          </p:val>
                                        </p:tav>
                                      </p:tavLst>
                                    </p:anim>
                                  </p:childTnLst>
                                </p:cTn>
                              </p:par>
                              <p:par>
                                <p:cTn id="17" presetID="2" presetClass="entr" presetSubtype="2" decel="100000" fill="hold" grpId="0" nodeType="withEffect">
                                  <p:stCondLst>
                                    <p:cond delay="250"/>
                                  </p:stCondLst>
                                  <p:childTnLst>
                                    <p:set>
                                      <p:cBhvr>
                                        <p:cTn id="18" dur="1" fill="hold">
                                          <p:stCondLst>
                                            <p:cond delay="0"/>
                                          </p:stCondLst>
                                        </p:cTn>
                                        <p:tgtEl>
                                          <p:spTgt spid="10"/>
                                        </p:tgtEl>
                                        <p:attrNameLst>
                                          <p:attrName>style.visibility</p:attrName>
                                        </p:attrNameLst>
                                      </p:cBhvr>
                                      <p:to>
                                        <p:strVal val="visible"/>
                                      </p:to>
                                    </p:set>
                                    <p:anim calcmode="lin" valueType="num">
                                      <p:cBhvr additive="base">
                                        <p:cTn id="19" dur="500" fill="hold"/>
                                        <p:tgtEl>
                                          <p:spTgt spid="10"/>
                                        </p:tgtEl>
                                        <p:attrNameLst>
                                          <p:attrName>ppt_x</p:attrName>
                                        </p:attrNameLst>
                                      </p:cBhvr>
                                      <p:tavLst>
                                        <p:tav tm="0">
                                          <p:val>
                                            <p:strVal val="1+#ppt_w/2"/>
                                          </p:val>
                                        </p:tav>
                                        <p:tav tm="100000">
                                          <p:val>
                                            <p:strVal val="#ppt_x"/>
                                          </p:val>
                                        </p:tav>
                                      </p:tavLst>
                                    </p:anim>
                                    <p:anim calcmode="lin" valueType="num">
                                      <p:cBhvr additive="base">
                                        <p:cTn id="20" dur="500" fill="hold"/>
                                        <p:tgtEl>
                                          <p:spTgt spid="1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5" grpId="0" uiExpand="1" build="p"/>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bwMode="auto">
          <a:xfrm>
            <a:off x="6078537" y="1695450"/>
            <a:ext cx="5597525" cy="4089124"/>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53943543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4525"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7" name="Title 6"/>
          <p:cNvSpPr>
            <a:spLocks noGrp="1"/>
          </p:cNvSpPr>
          <p:nvPr>
            <p:ph type="title"/>
          </p:nvPr>
        </p:nvSpPr>
        <p:spPr>
          <a:xfrm>
            <a:off x="519112" y="228600"/>
            <a:ext cx="11149013" cy="553998"/>
          </a:xfrm>
        </p:spPr>
        <p:txBody>
          <a:bodyPr/>
          <a:lstStyle/>
          <a:p>
            <a:r>
              <a:rPr lang="en-US" sz="4000" dirty="0"/>
              <a:t>Deploying ASP.NET </a:t>
            </a:r>
            <a:r>
              <a:rPr lang="en-US" sz="4000" dirty="0" smtClean="0"/>
              <a:t>Apps </a:t>
            </a:r>
            <a:r>
              <a:rPr lang="en-US" sz="4000" dirty="0"/>
              <a:t>to the Cloud</a:t>
            </a:r>
          </a:p>
        </p:txBody>
      </p:sp>
      <p:sp>
        <p:nvSpPr>
          <p:cNvPr id="8" name="Freeform 139"/>
          <p:cNvSpPr>
            <a:spLocks noEditPoints="1"/>
          </p:cNvSpPr>
          <p:nvPr/>
        </p:nvSpPr>
        <p:spPr bwMode="black">
          <a:xfrm>
            <a:off x="7546615" y="2835546"/>
            <a:ext cx="2661368" cy="1808932"/>
          </a:xfrm>
          <a:custGeom>
            <a:avLst/>
            <a:gdLst>
              <a:gd name="T0" fmla="*/ 1232 w 3162"/>
              <a:gd name="T1" fmla="*/ 548 h 2150"/>
              <a:gd name="T2" fmla="*/ 1114 w 3162"/>
              <a:gd name="T3" fmla="*/ 859 h 2150"/>
              <a:gd name="T4" fmla="*/ 746 w 3162"/>
              <a:gd name="T5" fmla="*/ 895 h 2150"/>
              <a:gd name="T6" fmla="*/ 549 w 3162"/>
              <a:gd name="T7" fmla="*/ 925 h 2150"/>
              <a:gd name="T8" fmla="*/ 862 w 3162"/>
              <a:gd name="T9" fmla="*/ 348 h 2150"/>
              <a:gd name="T10" fmla="*/ 1240 w 3162"/>
              <a:gd name="T11" fmla="*/ 502 h 2150"/>
              <a:gd name="T12" fmla="*/ 725 w 3162"/>
              <a:gd name="T13" fmla="*/ 1177 h 2150"/>
              <a:gd name="T14" fmla="*/ 560 w 3162"/>
              <a:gd name="T15" fmla="*/ 929 h 2150"/>
              <a:gd name="T16" fmla="*/ 592 w 3162"/>
              <a:gd name="T17" fmla="*/ 942 h 2150"/>
              <a:gd name="T18" fmla="*/ 779 w 3162"/>
              <a:gd name="T19" fmla="*/ 1124 h 2150"/>
              <a:gd name="T20" fmla="*/ 1229 w 3162"/>
              <a:gd name="T21" fmla="*/ 555 h 2150"/>
              <a:gd name="T22" fmla="*/ 2213 w 3162"/>
              <a:gd name="T23" fmla="*/ 1670 h 2150"/>
              <a:gd name="T24" fmla="*/ 2168 w 3162"/>
              <a:gd name="T25" fmla="*/ 1483 h 2150"/>
              <a:gd name="T26" fmla="*/ 2454 w 3162"/>
              <a:gd name="T27" fmla="*/ 1382 h 2150"/>
              <a:gd name="T28" fmla="*/ 2658 w 3162"/>
              <a:gd name="T29" fmla="*/ 1554 h 2150"/>
              <a:gd name="T30" fmla="*/ 2367 w 3162"/>
              <a:gd name="T31" fmla="*/ 1746 h 2150"/>
              <a:gd name="T32" fmla="*/ 2609 w 3162"/>
              <a:gd name="T33" fmla="*/ 1544 h 2150"/>
              <a:gd name="T34" fmla="*/ 2301 w 3162"/>
              <a:gd name="T35" fmla="*/ 1388 h 2150"/>
              <a:gd name="T36" fmla="*/ 2293 w 3162"/>
              <a:gd name="T37" fmla="*/ 1645 h 2150"/>
              <a:gd name="T38" fmla="*/ 2456 w 3162"/>
              <a:gd name="T39" fmla="*/ 1656 h 2150"/>
              <a:gd name="T40" fmla="*/ 2490 w 3162"/>
              <a:gd name="T41" fmla="*/ 1720 h 2150"/>
              <a:gd name="T42" fmla="*/ 2538 w 3162"/>
              <a:gd name="T43" fmla="*/ 1520 h 2150"/>
              <a:gd name="T44" fmla="*/ 2229 w 3162"/>
              <a:gd name="T45" fmla="*/ 1507 h 2150"/>
              <a:gd name="T46" fmla="*/ 2175 w 3162"/>
              <a:gd name="T47" fmla="*/ 1470 h 2150"/>
              <a:gd name="T48" fmla="*/ 3161 w 3162"/>
              <a:gd name="T49" fmla="*/ 1198 h 2150"/>
              <a:gd name="T50" fmla="*/ 2691 w 3162"/>
              <a:gd name="T51" fmla="*/ 1251 h 2150"/>
              <a:gd name="T52" fmla="*/ 2744 w 3162"/>
              <a:gd name="T53" fmla="*/ 1098 h 2150"/>
              <a:gd name="T54" fmla="*/ 2784 w 3162"/>
              <a:gd name="T55" fmla="*/ 1091 h 2150"/>
              <a:gd name="T56" fmla="*/ 2784 w 3162"/>
              <a:gd name="T57" fmla="*/ 1091 h 2150"/>
              <a:gd name="T58" fmla="*/ 2677 w 3162"/>
              <a:gd name="T59" fmla="*/ 1503 h 2150"/>
              <a:gd name="T60" fmla="*/ 3081 w 3162"/>
              <a:gd name="T61" fmla="*/ 1322 h 2150"/>
              <a:gd name="T62" fmla="*/ 779 w 3162"/>
              <a:gd name="T63" fmla="*/ 1123 h 2150"/>
              <a:gd name="T64" fmla="*/ 600 w 3162"/>
              <a:gd name="T65" fmla="*/ 1445 h 2150"/>
              <a:gd name="T66" fmla="*/ 594 w 3162"/>
              <a:gd name="T67" fmla="*/ 1563 h 2150"/>
              <a:gd name="T68" fmla="*/ 779 w 3162"/>
              <a:gd name="T69" fmla="*/ 1123 h 2150"/>
              <a:gd name="T70" fmla="*/ 394 w 3162"/>
              <a:gd name="T71" fmla="*/ 1456 h 2150"/>
              <a:gd name="T72" fmla="*/ 394 w 3162"/>
              <a:gd name="T73" fmla="*/ 1456 h 2150"/>
              <a:gd name="T74" fmla="*/ 730 w 3162"/>
              <a:gd name="T75" fmla="*/ 1147 h 2150"/>
              <a:gd name="T76" fmla="*/ 730 w 3162"/>
              <a:gd name="T77" fmla="*/ 1147 h 2150"/>
              <a:gd name="T78" fmla="*/ 2090 w 3162"/>
              <a:gd name="T79" fmla="*/ 1387 h 2150"/>
              <a:gd name="T80" fmla="*/ 1909 w 3162"/>
              <a:gd name="T81" fmla="*/ 1116 h 2150"/>
              <a:gd name="T82" fmla="*/ 1360 w 3162"/>
              <a:gd name="T83" fmla="*/ 1038 h 2150"/>
              <a:gd name="T84" fmla="*/ 1643 w 3162"/>
              <a:gd name="T85" fmla="*/ 608 h 2150"/>
              <a:gd name="T86" fmla="*/ 1700 w 3162"/>
              <a:gd name="T87" fmla="*/ 181 h 2150"/>
              <a:gd name="T88" fmla="*/ 2216 w 3162"/>
              <a:gd name="T89" fmla="*/ 631 h 2150"/>
              <a:gd name="T90" fmla="*/ 2245 w 3162"/>
              <a:gd name="T91" fmla="*/ 712 h 2150"/>
              <a:gd name="T92" fmla="*/ 2066 w 3162"/>
              <a:gd name="T93" fmla="*/ 1368 h 2150"/>
              <a:gd name="T94" fmla="*/ 1437 w 3162"/>
              <a:gd name="T95" fmla="*/ 1081 h 2150"/>
              <a:gd name="T96" fmla="*/ 1925 w 3162"/>
              <a:gd name="T97" fmla="*/ 1306 h 2150"/>
              <a:gd name="T98" fmla="*/ 1949 w 3162"/>
              <a:gd name="T99" fmla="*/ 1312 h 2150"/>
              <a:gd name="T100" fmla="*/ 1733 w 3162"/>
              <a:gd name="T101" fmla="*/ 1818 h 2150"/>
              <a:gd name="T102" fmla="*/ 1651 w 3162"/>
              <a:gd name="T103" fmla="*/ 1364 h 2150"/>
              <a:gd name="T104" fmla="*/ 1962 w 3162"/>
              <a:gd name="T105" fmla="*/ 1484 h 2150"/>
              <a:gd name="T106" fmla="*/ 1934 w 3162"/>
              <a:gd name="T107" fmla="*/ 1843 h 2150"/>
              <a:gd name="T108" fmla="*/ 2150 w 3162"/>
              <a:gd name="T109" fmla="*/ 1690 h 2150"/>
              <a:gd name="T110" fmla="*/ 1978 w 3162"/>
              <a:gd name="T111" fmla="*/ 1496 h 2150"/>
              <a:gd name="T112" fmla="*/ 893 w 3162"/>
              <a:gd name="T113" fmla="*/ 1047 h 2150"/>
              <a:gd name="T114" fmla="*/ 1229 w 3162"/>
              <a:gd name="T115" fmla="*/ 1432 h 2150"/>
              <a:gd name="T116" fmla="*/ 1097 w 3162"/>
              <a:gd name="T117" fmla="*/ 1406 h 2150"/>
              <a:gd name="T118" fmla="*/ 693 w 3162"/>
              <a:gd name="T119" fmla="*/ 1380 h 2150"/>
              <a:gd name="T120" fmla="*/ 785 w 3162"/>
              <a:gd name="T121" fmla="*/ 1842 h 2150"/>
              <a:gd name="T122" fmla="*/ 1229 w 3162"/>
              <a:gd name="T123" fmla="*/ 1990 h 2150"/>
              <a:gd name="T124" fmla="*/ 1520 w 3162"/>
              <a:gd name="T125" fmla="*/ 1266 h 2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162" h="2150">
                <a:moveTo>
                  <a:pt x="762" y="1139"/>
                </a:moveTo>
                <a:cubicBezTo>
                  <a:pt x="766" y="1135"/>
                  <a:pt x="770" y="1131"/>
                  <a:pt x="775" y="1127"/>
                </a:cubicBezTo>
                <a:cubicBezTo>
                  <a:pt x="774" y="1127"/>
                  <a:pt x="774" y="1127"/>
                  <a:pt x="774" y="1128"/>
                </a:cubicBezTo>
                <a:cubicBezTo>
                  <a:pt x="770" y="1131"/>
                  <a:pt x="766" y="1135"/>
                  <a:pt x="762" y="1139"/>
                </a:cubicBezTo>
                <a:close/>
                <a:moveTo>
                  <a:pt x="1275" y="447"/>
                </a:moveTo>
                <a:cubicBezTo>
                  <a:pt x="1258" y="479"/>
                  <a:pt x="1243" y="513"/>
                  <a:pt x="1232" y="548"/>
                </a:cubicBezTo>
                <a:cubicBezTo>
                  <a:pt x="1232" y="548"/>
                  <a:pt x="1232" y="548"/>
                  <a:pt x="1232" y="548"/>
                </a:cubicBezTo>
                <a:cubicBezTo>
                  <a:pt x="1108" y="636"/>
                  <a:pt x="1108" y="636"/>
                  <a:pt x="1108" y="636"/>
                </a:cubicBezTo>
                <a:cubicBezTo>
                  <a:pt x="1145" y="696"/>
                  <a:pt x="1150" y="767"/>
                  <a:pt x="1127" y="830"/>
                </a:cubicBezTo>
                <a:cubicBezTo>
                  <a:pt x="1196" y="861"/>
                  <a:pt x="1196" y="861"/>
                  <a:pt x="1196" y="861"/>
                </a:cubicBezTo>
                <a:cubicBezTo>
                  <a:pt x="1197" y="873"/>
                  <a:pt x="1199" y="886"/>
                  <a:pt x="1201" y="899"/>
                </a:cubicBezTo>
                <a:cubicBezTo>
                  <a:pt x="1114" y="859"/>
                  <a:pt x="1114" y="859"/>
                  <a:pt x="1114" y="859"/>
                </a:cubicBezTo>
                <a:cubicBezTo>
                  <a:pt x="1098" y="888"/>
                  <a:pt x="1076" y="914"/>
                  <a:pt x="1048" y="934"/>
                </a:cubicBezTo>
                <a:cubicBezTo>
                  <a:pt x="1019" y="954"/>
                  <a:pt x="988" y="967"/>
                  <a:pt x="956" y="972"/>
                </a:cubicBezTo>
                <a:cubicBezTo>
                  <a:pt x="960" y="1019"/>
                  <a:pt x="960" y="1019"/>
                  <a:pt x="960" y="1019"/>
                </a:cubicBezTo>
                <a:cubicBezTo>
                  <a:pt x="950" y="1022"/>
                  <a:pt x="939" y="1026"/>
                  <a:pt x="929" y="1031"/>
                </a:cubicBezTo>
                <a:cubicBezTo>
                  <a:pt x="923" y="975"/>
                  <a:pt x="923" y="975"/>
                  <a:pt x="923" y="975"/>
                </a:cubicBezTo>
                <a:cubicBezTo>
                  <a:pt x="857" y="977"/>
                  <a:pt x="791" y="949"/>
                  <a:pt x="746" y="895"/>
                </a:cubicBezTo>
                <a:cubicBezTo>
                  <a:pt x="642" y="969"/>
                  <a:pt x="642" y="969"/>
                  <a:pt x="642" y="969"/>
                </a:cubicBezTo>
                <a:cubicBezTo>
                  <a:pt x="632" y="963"/>
                  <a:pt x="622" y="957"/>
                  <a:pt x="612" y="951"/>
                </a:cubicBezTo>
                <a:cubicBezTo>
                  <a:pt x="727" y="869"/>
                  <a:pt x="727" y="869"/>
                  <a:pt x="727" y="869"/>
                </a:cubicBezTo>
                <a:cubicBezTo>
                  <a:pt x="690" y="809"/>
                  <a:pt x="685" y="737"/>
                  <a:pt x="708" y="675"/>
                </a:cubicBezTo>
                <a:cubicBezTo>
                  <a:pt x="540" y="598"/>
                  <a:pt x="540" y="598"/>
                  <a:pt x="540" y="598"/>
                </a:cubicBezTo>
                <a:cubicBezTo>
                  <a:pt x="498" y="702"/>
                  <a:pt x="499" y="821"/>
                  <a:pt x="549" y="925"/>
                </a:cubicBezTo>
                <a:cubicBezTo>
                  <a:pt x="524" y="918"/>
                  <a:pt x="500" y="913"/>
                  <a:pt x="476" y="910"/>
                </a:cubicBezTo>
                <a:cubicBezTo>
                  <a:pt x="454" y="849"/>
                  <a:pt x="444" y="782"/>
                  <a:pt x="450" y="713"/>
                </a:cubicBezTo>
                <a:cubicBezTo>
                  <a:pt x="471" y="455"/>
                  <a:pt x="698" y="263"/>
                  <a:pt x="957" y="284"/>
                </a:cubicBezTo>
                <a:cubicBezTo>
                  <a:pt x="1085" y="295"/>
                  <a:pt x="1197" y="356"/>
                  <a:pt x="1275" y="447"/>
                </a:cubicBezTo>
                <a:close/>
                <a:moveTo>
                  <a:pt x="880" y="532"/>
                </a:moveTo>
                <a:cubicBezTo>
                  <a:pt x="862" y="348"/>
                  <a:pt x="862" y="348"/>
                  <a:pt x="862" y="348"/>
                </a:cubicBezTo>
                <a:cubicBezTo>
                  <a:pt x="799" y="356"/>
                  <a:pt x="736" y="380"/>
                  <a:pt x="681" y="420"/>
                </a:cubicBezTo>
                <a:cubicBezTo>
                  <a:pt x="625" y="460"/>
                  <a:pt x="582" y="511"/>
                  <a:pt x="553" y="569"/>
                </a:cubicBezTo>
                <a:cubicBezTo>
                  <a:pt x="722" y="645"/>
                  <a:pt x="722" y="645"/>
                  <a:pt x="722" y="645"/>
                </a:cubicBezTo>
                <a:cubicBezTo>
                  <a:pt x="737" y="617"/>
                  <a:pt x="760" y="591"/>
                  <a:pt x="788" y="570"/>
                </a:cubicBezTo>
                <a:cubicBezTo>
                  <a:pt x="816" y="550"/>
                  <a:pt x="848" y="537"/>
                  <a:pt x="880" y="532"/>
                </a:cubicBezTo>
                <a:close/>
                <a:moveTo>
                  <a:pt x="1240" y="502"/>
                </a:moveTo>
                <a:cubicBezTo>
                  <a:pt x="1155" y="392"/>
                  <a:pt x="1025" y="338"/>
                  <a:pt x="895" y="345"/>
                </a:cubicBezTo>
                <a:cubicBezTo>
                  <a:pt x="912" y="529"/>
                  <a:pt x="912" y="529"/>
                  <a:pt x="912" y="529"/>
                </a:cubicBezTo>
                <a:cubicBezTo>
                  <a:pt x="979" y="527"/>
                  <a:pt x="1045" y="555"/>
                  <a:pt x="1090" y="610"/>
                </a:cubicBezTo>
                <a:lnTo>
                  <a:pt x="1240" y="502"/>
                </a:lnTo>
                <a:close/>
                <a:moveTo>
                  <a:pt x="741" y="1160"/>
                </a:moveTo>
                <a:cubicBezTo>
                  <a:pt x="735" y="1166"/>
                  <a:pt x="730" y="1172"/>
                  <a:pt x="725" y="1177"/>
                </a:cubicBezTo>
                <a:cubicBezTo>
                  <a:pt x="730" y="1172"/>
                  <a:pt x="735" y="1166"/>
                  <a:pt x="741" y="1160"/>
                </a:cubicBezTo>
                <a:close/>
                <a:moveTo>
                  <a:pt x="742" y="1158"/>
                </a:moveTo>
                <a:cubicBezTo>
                  <a:pt x="747" y="1153"/>
                  <a:pt x="752" y="1148"/>
                  <a:pt x="757" y="1143"/>
                </a:cubicBezTo>
                <a:cubicBezTo>
                  <a:pt x="752" y="1148"/>
                  <a:pt x="747" y="1153"/>
                  <a:pt x="742" y="1158"/>
                </a:cubicBezTo>
                <a:close/>
                <a:moveTo>
                  <a:pt x="549" y="926"/>
                </a:moveTo>
                <a:cubicBezTo>
                  <a:pt x="553" y="927"/>
                  <a:pt x="557" y="928"/>
                  <a:pt x="560" y="929"/>
                </a:cubicBezTo>
                <a:cubicBezTo>
                  <a:pt x="557" y="928"/>
                  <a:pt x="553" y="927"/>
                  <a:pt x="549" y="925"/>
                </a:cubicBezTo>
                <a:cubicBezTo>
                  <a:pt x="549" y="925"/>
                  <a:pt x="549" y="925"/>
                  <a:pt x="549" y="926"/>
                </a:cubicBezTo>
                <a:close/>
                <a:moveTo>
                  <a:pt x="592" y="942"/>
                </a:moveTo>
                <a:cubicBezTo>
                  <a:pt x="599" y="945"/>
                  <a:pt x="605" y="948"/>
                  <a:pt x="611" y="951"/>
                </a:cubicBezTo>
                <a:cubicBezTo>
                  <a:pt x="612" y="951"/>
                  <a:pt x="612" y="951"/>
                  <a:pt x="612" y="951"/>
                </a:cubicBezTo>
                <a:cubicBezTo>
                  <a:pt x="605" y="948"/>
                  <a:pt x="599" y="945"/>
                  <a:pt x="592" y="942"/>
                </a:cubicBezTo>
                <a:close/>
                <a:moveTo>
                  <a:pt x="642" y="969"/>
                </a:moveTo>
                <a:cubicBezTo>
                  <a:pt x="644" y="970"/>
                  <a:pt x="646" y="972"/>
                  <a:pt x="648" y="973"/>
                </a:cubicBezTo>
                <a:cubicBezTo>
                  <a:pt x="646" y="971"/>
                  <a:pt x="644" y="970"/>
                  <a:pt x="642" y="969"/>
                </a:cubicBezTo>
                <a:close/>
                <a:moveTo>
                  <a:pt x="775" y="1127"/>
                </a:moveTo>
                <a:cubicBezTo>
                  <a:pt x="777" y="1125"/>
                  <a:pt x="779" y="1124"/>
                  <a:pt x="781" y="1122"/>
                </a:cubicBezTo>
                <a:cubicBezTo>
                  <a:pt x="780" y="1122"/>
                  <a:pt x="779" y="1123"/>
                  <a:pt x="779" y="1124"/>
                </a:cubicBezTo>
                <a:cubicBezTo>
                  <a:pt x="777" y="1125"/>
                  <a:pt x="776" y="1126"/>
                  <a:pt x="775" y="1127"/>
                </a:cubicBezTo>
                <a:close/>
                <a:moveTo>
                  <a:pt x="960" y="1019"/>
                </a:moveTo>
                <a:cubicBezTo>
                  <a:pt x="967" y="1016"/>
                  <a:pt x="974" y="1014"/>
                  <a:pt x="982" y="1012"/>
                </a:cubicBezTo>
                <a:cubicBezTo>
                  <a:pt x="974" y="1014"/>
                  <a:pt x="967" y="1016"/>
                  <a:pt x="960" y="1019"/>
                </a:cubicBezTo>
                <a:close/>
                <a:moveTo>
                  <a:pt x="1220" y="583"/>
                </a:moveTo>
                <a:cubicBezTo>
                  <a:pt x="1223" y="574"/>
                  <a:pt x="1226" y="564"/>
                  <a:pt x="1229" y="555"/>
                </a:cubicBezTo>
                <a:cubicBezTo>
                  <a:pt x="1226" y="564"/>
                  <a:pt x="1223" y="574"/>
                  <a:pt x="1220" y="583"/>
                </a:cubicBezTo>
                <a:close/>
                <a:moveTo>
                  <a:pt x="2658" y="1554"/>
                </a:moveTo>
                <a:cubicBezTo>
                  <a:pt x="2648" y="1634"/>
                  <a:pt x="2604" y="1709"/>
                  <a:pt x="2530" y="1755"/>
                </a:cubicBezTo>
                <a:cubicBezTo>
                  <a:pt x="2425" y="1820"/>
                  <a:pt x="2294" y="1807"/>
                  <a:pt x="2205" y="1732"/>
                </a:cubicBezTo>
                <a:cubicBezTo>
                  <a:pt x="2209" y="1711"/>
                  <a:pt x="2212" y="1689"/>
                  <a:pt x="2213" y="1667"/>
                </a:cubicBezTo>
                <a:cubicBezTo>
                  <a:pt x="2213" y="1668"/>
                  <a:pt x="2213" y="1669"/>
                  <a:pt x="2213" y="1670"/>
                </a:cubicBezTo>
                <a:cubicBezTo>
                  <a:pt x="2224" y="1682"/>
                  <a:pt x="2236" y="1694"/>
                  <a:pt x="2249" y="1703"/>
                </a:cubicBezTo>
                <a:cubicBezTo>
                  <a:pt x="2290" y="1643"/>
                  <a:pt x="2290" y="1643"/>
                  <a:pt x="2290" y="1643"/>
                </a:cubicBezTo>
                <a:cubicBezTo>
                  <a:pt x="2252" y="1614"/>
                  <a:pt x="2227" y="1568"/>
                  <a:pt x="2228" y="1517"/>
                </a:cubicBezTo>
                <a:cubicBezTo>
                  <a:pt x="2183" y="1514"/>
                  <a:pt x="2183" y="1514"/>
                  <a:pt x="2183" y="1514"/>
                </a:cubicBezTo>
                <a:cubicBezTo>
                  <a:pt x="2184" y="1516"/>
                  <a:pt x="2185" y="1518"/>
                  <a:pt x="2186" y="1520"/>
                </a:cubicBezTo>
                <a:cubicBezTo>
                  <a:pt x="2181" y="1507"/>
                  <a:pt x="2175" y="1495"/>
                  <a:pt x="2168" y="1483"/>
                </a:cubicBezTo>
                <a:cubicBezTo>
                  <a:pt x="2171" y="1488"/>
                  <a:pt x="2173" y="1492"/>
                  <a:pt x="2175" y="1497"/>
                </a:cubicBezTo>
                <a:cubicBezTo>
                  <a:pt x="2230" y="1501"/>
                  <a:pt x="2230" y="1501"/>
                  <a:pt x="2230" y="1501"/>
                </a:cubicBezTo>
                <a:cubicBezTo>
                  <a:pt x="2233" y="1477"/>
                  <a:pt x="2241" y="1455"/>
                  <a:pt x="2253" y="1436"/>
                </a:cubicBezTo>
                <a:cubicBezTo>
                  <a:pt x="2293" y="1416"/>
                  <a:pt x="2330" y="1393"/>
                  <a:pt x="2365" y="1366"/>
                </a:cubicBezTo>
                <a:cubicBezTo>
                  <a:pt x="2374" y="1365"/>
                  <a:pt x="2384" y="1365"/>
                  <a:pt x="2394" y="1365"/>
                </a:cubicBezTo>
                <a:cubicBezTo>
                  <a:pt x="2416" y="1367"/>
                  <a:pt x="2436" y="1373"/>
                  <a:pt x="2454" y="1382"/>
                </a:cubicBezTo>
                <a:cubicBezTo>
                  <a:pt x="2454" y="1382"/>
                  <a:pt x="2453" y="1381"/>
                  <a:pt x="2453" y="1380"/>
                </a:cubicBezTo>
                <a:cubicBezTo>
                  <a:pt x="2473" y="1418"/>
                  <a:pt x="2500" y="1451"/>
                  <a:pt x="2532" y="1480"/>
                </a:cubicBezTo>
                <a:cubicBezTo>
                  <a:pt x="2536" y="1493"/>
                  <a:pt x="2538" y="1508"/>
                  <a:pt x="2538" y="1523"/>
                </a:cubicBezTo>
                <a:cubicBezTo>
                  <a:pt x="2599" y="1527"/>
                  <a:pt x="2599" y="1527"/>
                  <a:pt x="2599" y="1527"/>
                </a:cubicBezTo>
                <a:cubicBezTo>
                  <a:pt x="2599" y="1527"/>
                  <a:pt x="2599" y="1527"/>
                  <a:pt x="2599" y="1527"/>
                </a:cubicBezTo>
                <a:cubicBezTo>
                  <a:pt x="2618" y="1538"/>
                  <a:pt x="2638" y="1547"/>
                  <a:pt x="2658" y="1554"/>
                </a:cubicBezTo>
                <a:close/>
                <a:moveTo>
                  <a:pt x="2475" y="1727"/>
                </a:moveTo>
                <a:cubicBezTo>
                  <a:pt x="2443" y="1662"/>
                  <a:pt x="2443" y="1662"/>
                  <a:pt x="2443" y="1662"/>
                </a:cubicBezTo>
                <a:cubicBezTo>
                  <a:pt x="2422" y="1671"/>
                  <a:pt x="2397" y="1676"/>
                  <a:pt x="2372" y="1674"/>
                </a:cubicBezTo>
                <a:cubicBezTo>
                  <a:pt x="2347" y="1672"/>
                  <a:pt x="2323" y="1664"/>
                  <a:pt x="2303" y="1652"/>
                </a:cubicBezTo>
                <a:cubicBezTo>
                  <a:pt x="2262" y="1712"/>
                  <a:pt x="2262" y="1712"/>
                  <a:pt x="2262" y="1712"/>
                </a:cubicBezTo>
                <a:cubicBezTo>
                  <a:pt x="2293" y="1732"/>
                  <a:pt x="2328" y="1744"/>
                  <a:pt x="2367" y="1746"/>
                </a:cubicBezTo>
                <a:cubicBezTo>
                  <a:pt x="2405" y="1749"/>
                  <a:pt x="2442" y="1742"/>
                  <a:pt x="2475" y="1727"/>
                </a:cubicBezTo>
                <a:close/>
                <a:moveTo>
                  <a:pt x="2609" y="1544"/>
                </a:moveTo>
                <a:cubicBezTo>
                  <a:pt x="2536" y="1539"/>
                  <a:pt x="2536" y="1539"/>
                  <a:pt x="2536" y="1539"/>
                </a:cubicBezTo>
                <a:cubicBezTo>
                  <a:pt x="2530" y="1589"/>
                  <a:pt x="2500" y="1632"/>
                  <a:pt x="2458" y="1655"/>
                </a:cubicBezTo>
                <a:cubicBezTo>
                  <a:pt x="2490" y="1720"/>
                  <a:pt x="2490" y="1720"/>
                  <a:pt x="2490" y="1720"/>
                </a:cubicBezTo>
                <a:cubicBezTo>
                  <a:pt x="2554" y="1686"/>
                  <a:pt x="2601" y="1621"/>
                  <a:pt x="2609" y="1544"/>
                </a:cubicBezTo>
                <a:close/>
                <a:moveTo>
                  <a:pt x="2278" y="1319"/>
                </a:moveTo>
                <a:cubicBezTo>
                  <a:pt x="2278" y="1319"/>
                  <a:pt x="2278" y="1319"/>
                  <a:pt x="2278" y="1319"/>
                </a:cubicBezTo>
                <a:moveTo>
                  <a:pt x="2268" y="1324"/>
                </a:moveTo>
                <a:cubicBezTo>
                  <a:pt x="2268" y="1324"/>
                  <a:pt x="2268" y="1324"/>
                  <a:pt x="2268" y="1324"/>
                </a:cubicBezTo>
                <a:moveTo>
                  <a:pt x="2301" y="1388"/>
                </a:moveTo>
                <a:cubicBezTo>
                  <a:pt x="2301" y="1388"/>
                  <a:pt x="2301" y="1388"/>
                  <a:pt x="2301" y="1388"/>
                </a:cubicBezTo>
                <a:moveTo>
                  <a:pt x="2312" y="1382"/>
                </a:moveTo>
                <a:cubicBezTo>
                  <a:pt x="2312" y="1382"/>
                  <a:pt x="2312" y="1382"/>
                  <a:pt x="2312" y="1382"/>
                </a:cubicBezTo>
                <a:moveTo>
                  <a:pt x="2303" y="1652"/>
                </a:moveTo>
                <a:cubicBezTo>
                  <a:pt x="2303" y="1652"/>
                  <a:pt x="2303" y="1652"/>
                  <a:pt x="2303" y="1652"/>
                </a:cubicBezTo>
                <a:moveTo>
                  <a:pt x="2293" y="1645"/>
                </a:moveTo>
                <a:cubicBezTo>
                  <a:pt x="2293" y="1645"/>
                  <a:pt x="2293" y="1645"/>
                  <a:pt x="2293" y="1645"/>
                </a:cubicBezTo>
                <a:moveTo>
                  <a:pt x="2256" y="1707"/>
                </a:moveTo>
                <a:cubicBezTo>
                  <a:pt x="2256" y="1707"/>
                  <a:pt x="2256" y="1707"/>
                  <a:pt x="2256" y="1707"/>
                </a:cubicBezTo>
                <a:moveTo>
                  <a:pt x="2266" y="1713"/>
                </a:moveTo>
                <a:cubicBezTo>
                  <a:pt x="2266" y="1713"/>
                  <a:pt x="2266" y="1713"/>
                  <a:pt x="2266" y="1713"/>
                </a:cubicBezTo>
                <a:moveTo>
                  <a:pt x="2456" y="1656"/>
                </a:moveTo>
                <a:cubicBezTo>
                  <a:pt x="2456" y="1656"/>
                  <a:pt x="2456" y="1656"/>
                  <a:pt x="2456" y="1656"/>
                </a:cubicBezTo>
                <a:moveTo>
                  <a:pt x="2446" y="1661"/>
                </a:moveTo>
                <a:cubicBezTo>
                  <a:pt x="2446" y="1661"/>
                  <a:pt x="2446" y="1661"/>
                  <a:pt x="2446" y="1661"/>
                </a:cubicBezTo>
                <a:moveTo>
                  <a:pt x="2479" y="1725"/>
                </a:moveTo>
                <a:cubicBezTo>
                  <a:pt x="2479" y="1725"/>
                  <a:pt x="2479" y="1725"/>
                  <a:pt x="2479" y="1725"/>
                </a:cubicBezTo>
                <a:moveTo>
                  <a:pt x="2490" y="1720"/>
                </a:moveTo>
                <a:cubicBezTo>
                  <a:pt x="2490" y="1720"/>
                  <a:pt x="2490" y="1720"/>
                  <a:pt x="2490" y="1720"/>
                </a:cubicBezTo>
                <a:moveTo>
                  <a:pt x="2610" y="1536"/>
                </a:moveTo>
                <a:cubicBezTo>
                  <a:pt x="2610" y="1536"/>
                  <a:pt x="2610" y="1536"/>
                  <a:pt x="2610" y="1536"/>
                </a:cubicBezTo>
                <a:moveTo>
                  <a:pt x="2610" y="1524"/>
                </a:moveTo>
                <a:cubicBezTo>
                  <a:pt x="2610" y="1524"/>
                  <a:pt x="2610" y="1524"/>
                  <a:pt x="2610" y="1524"/>
                </a:cubicBezTo>
                <a:moveTo>
                  <a:pt x="2538" y="1520"/>
                </a:moveTo>
                <a:cubicBezTo>
                  <a:pt x="2538" y="1520"/>
                  <a:pt x="2538" y="1520"/>
                  <a:pt x="2538" y="1520"/>
                </a:cubicBezTo>
                <a:moveTo>
                  <a:pt x="2538" y="1532"/>
                </a:moveTo>
                <a:cubicBezTo>
                  <a:pt x="2538" y="1532"/>
                  <a:pt x="2538" y="1532"/>
                  <a:pt x="2538" y="1532"/>
                </a:cubicBezTo>
                <a:moveTo>
                  <a:pt x="2229" y="1519"/>
                </a:moveTo>
                <a:cubicBezTo>
                  <a:pt x="2229" y="1519"/>
                  <a:pt x="2229" y="1519"/>
                  <a:pt x="2229" y="1519"/>
                </a:cubicBezTo>
                <a:moveTo>
                  <a:pt x="2229" y="1507"/>
                </a:moveTo>
                <a:cubicBezTo>
                  <a:pt x="2229" y="1507"/>
                  <a:pt x="2229" y="1507"/>
                  <a:pt x="2229" y="1507"/>
                </a:cubicBezTo>
                <a:moveTo>
                  <a:pt x="2158" y="1503"/>
                </a:moveTo>
                <a:cubicBezTo>
                  <a:pt x="2158" y="1503"/>
                  <a:pt x="2158" y="1503"/>
                  <a:pt x="2158" y="1503"/>
                </a:cubicBezTo>
                <a:moveTo>
                  <a:pt x="2157" y="1515"/>
                </a:moveTo>
                <a:cubicBezTo>
                  <a:pt x="2157" y="1515"/>
                  <a:pt x="2157" y="1515"/>
                  <a:pt x="2157" y="1515"/>
                </a:cubicBezTo>
                <a:moveTo>
                  <a:pt x="2198" y="1462"/>
                </a:moveTo>
                <a:cubicBezTo>
                  <a:pt x="2190" y="1465"/>
                  <a:pt x="2182" y="1468"/>
                  <a:pt x="2175" y="1470"/>
                </a:cubicBezTo>
                <a:cubicBezTo>
                  <a:pt x="2182" y="1468"/>
                  <a:pt x="2190" y="1465"/>
                  <a:pt x="2198" y="1462"/>
                </a:cubicBezTo>
                <a:close/>
                <a:moveTo>
                  <a:pt x="2424" y="1315"/>
                </a:moveTo>
                <a:cubicBezTo>
                  <a:pt x="2425" y="1314"/>
                  <a:pt x="2426" y="1313"/>
                  <a:pt x="2427" y="1312"/>
                </a:cubicBezTo>
                <a:cubicBezTo>
                  <a:pt x="2425" y="1315"/>
                  <a:pt x="2423" y="1317"/>
                  <a:pt x="2421" y="1319"/>
                </a:cubicBezTo>
                <a:cubicBezTo>
                  <a:pt x="2422" y="1318"/>
                  <a:pt x="2423" y="1317"/>
                  <a:pt x="2424" y="1315"/>
                </a:cubicBezTo>
                <a:close/>
                <a:moveTo>
                  <a:pt x="3161" y="1198"/>
                </a:moveTo>
                <a:cubicBezTo>
                  <a:pt x="3161" y="1407"/>
                  <a:pt x="2991" y="1576"/>
                  <a:pt x="2782" y="1575"/>
                </a:cubicBezTo>
                <a:cubicBezTo>
                  <a:pt x="2615" y="1575"/>
                  <a:pt x="2474" y="1466"/>
                  <a:pt x="2424" y="1315"/>
                </a:cubicBezTo>
                <a:cubicBezTo>
                  <a:pt x="2440" y="1300"/>
                  <a:pt x="2456" y="1284"/>
                  <a:pt x="2470" y="1267"/>
                </a:cubicBezTo>
                <a:cubicBezTo>
                  <a:pt x="2470" y="1268"/>
                  <a:pt x="2469" y="1269"/>
                  <a:pt x="2469" y="1270"/>
                </a:cubicBezTo>
                <a:cubicBezTo>
                  <a:pt x="2479" y="1314"/>
                  <a:pt x="2499" y="1356"/>
                  <a:pt x="2526" y="1393"/>
                </a:cubicBezTo>
                <a:cubicBezTo>
                  <a:pt x="2691" y="1251"/>
                  <a:pt x="2691" y="1251"/>
                  <a:pt x="2691" y="1251"/>
                </a:cubicBezTo>
                <a:cubicBezTo>
                  <a:pt x="2679" y="1230"/>
                  <a:pt x="2674" y="1206"/>
                  <a:pt x="2678" y="1182"/>
                </a:cubicBezTo>
                <a:cubicBezTo>
                  <a:pt x="2560" y="1141"/>
                  <a:pt x="2560" y="1141"/>
                  <a:pt x="2560" y="1141"/>
                </a:cubicBezTo>
                <a:cubicBezTo>
                  <a:pt x="2567" y="1128"/>
                  <a:pt x="2574" y="1115"/>
                  <a:pt x="2580" y="1102"/>
                </a:cubicBezTo>
                <a:cubicBezTo>
                  <a:pt x="2580" y="1103"/>
                  <a:pt x="2579" y="1104"/>
                  <a:pt x="2579" y="1105"/>
                </a:cubicBezTo>
                <a:cubicBezTo>
                  <a:pt x="2691" y="1144"/>
                  <a:pt x="2691" y="1144"/>
                  <a:pt x="2691" y="1144"/>
                </a:cubicBezTo>
                <a:cubicBezTo>
                  <a:pt x="2703" y="1123"/>
                  <a:pt x="2722" y="1107"/>
                  <a:pt x="2744" y="1098"/>
                </a:cubicBezTo>
                <a:cubicBezTo>
                  <a:pt x="2703" y="884"/>
                  <a:pt x="2703" y="884"/>
                  <a:pt x="2703" y="884"/>
                </a:cubicBezTo>
                <a:cubicBezTo>
                  <a:pt x="2682" y="890"/>
                  <a:pt x="2662" y="897"/>
                  <a:pt x="2642" y="907"/>
                </a:cubicBezTo>
                <a:cubicBezTo>
                  <a:pt x="2646" y="886"/>
                  <a:pt x="2649" y="865"/>
                  <a:pt x="2650" y="844"/>
                </a:cubicBezTo>
                <a:cubicBezTo>
                  <a:pt x="2692" y="828"/>
                  <a:pt x="2737" y="819"/>
                  <a:pt x="2784" y="819"/>
                </a:cubicBezTo>
                <a:cubicBezTo>
                  <a:pt x="2993" y="820"/>
                  <a:pt x="3162" y="989"/>
                  <a:pt x="3161" y="1198"/>
                </a:cubicBezTo>
                <a:close/>
                <a:moveTo>
                  <a:pt x="2784" y="1091"/>
                </a:moveTo>
                <a:cubicBezTo>
                  <a:pt x="2795" y="1091"/>
                  <a:pt x="2807" y="1092"/>
                  <a:pt x="2818" y="1096"/>
                </a:cubicBezTo>
                <a:cubicBezTo>
                  <a:pt x="2830" y="1100"/>
                  <a:pt x="2840" y="1106"/>
                  <a:pt x="2850" y="1114"/>
                </a:cubicBezTo>
                <a:cubicBezTo>
                  <a:pt x="3014" y="971"/>
                  <a:pt x="3014" y="971"/>
                  <a:pt x="3014" y="971"/>
                </a:cubicBezTo>
                <a:cubicBezTo>
                  <a:pt x="2980" y="937"/>
                  <a:pt x="2938" y="909"/>
                  <a:pt x="2889" y="892"/>
                </a:cubicBezTo>
                <a:cubicBezTo>
                  <a:pt x="2841" y="875"/>
                  <a:pt x="2791" y="871"/>
                  <a:pt x="2743" y="877"/>
                </a:cubicBezTo>
                <a:lnTo>
                  <a:pt x="2784" y="1091"/>
                </a:lnTo>
                <a:close/>
                <a:moveTo>
                  <a:pt x="2824" y="1518"/>
                </a:moveTo>
                <a:cubicBezTo>
                  <a:pt x="2783" y="1304"/>
                  <a:pt x="2783" y="1304"/>
                  <a:pt x="2783" y="1304"/>
                </a:cubicBezTo>
                <a:cubicBezTo>
                  <a:pt x="2772" y="1304"/>
                  <a:pt x="2760" y="1302"/>
                  <a:pt x="2748" y="1298"/>
                </a:cubicBezTo>
                <a:cubicBezTo>
                  <a:pt x="2737" y="1294"/>
                  <a:pt x="2726" y="1288"/>
                  <a:pt x="2717" y="1281"/>
                </a:cubicBezTo>
                <a:cubicBezTo>
                  <a:pt x="2553" y="1423"/>
                  <a:pt x="2553" y="1423"/>
                  <a:pt x="2553" y="1423"/>
                </a:cubicBezTo>
                <a:cubicBezTo>
                  <a:pt x="2586" y="1458"/>
                  <a:pt x="2629" y="1486"/>
                  <a:pt x="2677" y="1503"/>
                </a:cubicBezTo>
                <a:cubicBezTo>
                  <a:pt x="2726" y="1519"/>
                  <a:pt x="2776" y="1524"/>
                  <a:pt x="2824" y="1518"/>
                </a:cubicBezTo>
                <a:close/>
                <a:moveTo>
                  <a:pt x="3081" y="1322"/>
                </a:moveTo>
                <a:cubicBezTo>
                  <a:pt x="2876" y="1251"/>
                  <a:pt x="2876" y="1251"/>
                  <a:pt x="2876" y="1251"/>
                </a:cubicBezTo>
                <a:cubicBezTo>
                  <a:pt x="2864" y="1272"/>
                  <a:pt x="2845" y="1288"/>
                  <a:pt x="2823" y="1296"/>
                </a:cubicBezTo>
                <a:cubicBezTo>
                  <a:pt x="2864" y="1510"/>
                  <a:pt x="2864" y="1510"/>
                  <a:pt x="2864" y="1510"/>
                </a:cubicBezTo>
                <a:cubicBezTo>
                  <a:pt x="2959" y="1486"/>
                  <a:pt x="3041" y="1418"/>
                  <a:pt x="3081" y="1322"/>
                </a:cubicBezTo>
                <a:close/>
                <a:moveTo>
                  <a:pt x="3095" y="1284"/>
                </a:moveTo>
                <a:cubicBezTo>
                  <a:pt x="3123" y="1184"/>
                  <a:pt x="3100" y="1080"/>
                  <a:pt x="3041" y="1002"/>
                </a:cubicBezTo>
                <a:cubicBezTo>
                  <a:pt x="2876" y="1144"/>
                  <a:pt x="2876" y="1144"/>
                  <a:pt x="2876" y="1144"/>
                </a:cubicBezTo>
                <a:cubicBezTo>
                  <a:pt x="2888" y="1164"/>
                  <a:pt x="2892" y="1188"/>
                  <a:pt x="2889" y="1213"/>
                </a:cubicBezTo>
                <a:lnTo>
                  <a:pt x="3095" y="1284"/>
                </a:lnTo>
                <a:close/>
                <a:moveTo>
                  <a:pt x="779" y="1123"/>
                </a:moveTo>
                <a:cubicBezTo>
                  <a:pt x="753" y="1146"/>
                  <a:pt x="729" y="1171"/>
                  <a:pt x="708" y="1198"/>
                </a:cubicBezTo>
                <a:cubicBezTo>
                  <a:pt x="597" y="1245"/>
                  <a:pt x="597" y="1245"/>
                  <a:pt x="597" y="1245"/>
                </a:cubicBezTo>
                <a:cubicBezTo>
                  <a:pt x="610" y="1288"/>
                  <a:pt x="605" y="1337"/>
                  <a:pt x="580" y="1378"/>
                </a:cubicBezTo>
                <a:cubicBezTo>
                  <a:pt x="609" y="1400"/>
                  <a:pt x="609" y="1400"/>
                  <a:pt x="609" y="1400"/>
                </a:cubicBezTo>
                <a:cubicBezTo>
                  <a:pt x="610" y="1399"/>
                  <a:pt x="610" y="1398"/>
                  <a:pt x="611" y="1396"/>
                </a:cubicBezTo>
                <a:cubicBezTo>
                  <a:pt x="606" y="1412"/>
                  <a:pt x="603" y="1429"/>
                  <a:pt x="600" y="1445"/>
                </a:cubicBezTo>
                <a:cubicBezTo>
                  <a:pt x="600" y="1444"/>
                  <a:pt x="601" y="1443"/>
                  <a:pt x="601" y="1442"/>
                </a:cubicBezTo>
                <a:cubicBezTo>
                  <a:pt x="557" y="1409"/>
                  <a:pt x="557" y="1409"/>
                  <a:pt x="557" y="1409"/>
                </a:cubicBezTo>
                <a:cubicBezTo>
                  <a:pt x="523" y="1444"/>
                  <a:pt x="478" y="1461"/>
                  <a:pt x="433" y="1461"/>
                </a:cubicBezTo>
                <a:cubicBezTo>
                  <a:pt x="413" y="1620"/>
                  <a:pt x="413" y="1620"/>
                  <a:pt x="413" y="1620"/>
                </a:cubicBezTo>
                <a:cubicBezTo>
                  <a:pt x="476" y="1625"/>
                  <a:pt x="539" y="1611"/>
                  <a:pt x="595" y="1579"/>
                </a:cubicBezTo>
                <a:cubicBezTo>
                  <a:pt x="595" y="1574"/>
                  <a:pt x="594" y="1569"/>
                  <a:pt x="594" y="1563"/>
                </a:cubicBezTo>
                <a:cubicBezTo>
                  <a:pt x="594" y="1565"/>
                  <a:pt x="594" y="1566"/>
                  <a:pt x="594" y="1567"/>
                </a:cubicBezTo>
                <a:cubicBezTo>
                  <a:pt x="596" y="1590"/>
                  <a:pt x="599" y="1613"/>
                  <a:pt x="603" y="1636"/>
                </a:cubicBezTo>
                <a:cubicBezTo>
                  <a:pt x="511" y="1682"/>
                  <a:pt x="401" y="1690"/>
                  <a:pt x="297" y="1650"/>
                </a:cubicBezTo>
                <a:cubicBezTo>
                  <a:pt x="99" y="1574"/>
                  <a:pt x="0" y="1352"/>
                  <a:pt x="76" y="1154"/>
                </a:cubicBezTo>
                <a:cubicBezTo>
                  <a:pt x="152" y="956"/>
                  <a:pt x="374" y="858"/>
                  <a:pt x="572" y="934"/>
                </a:cubicBezTo>
                <a:cubicBezTo>
                  <a:pt x="666" y="970"/>
                  <a:pt x="738" y="1039"/>
                  <a:pt x="779" y="1123"/>
                </a:cubicBezTo>
                <a:close/>
                <a:moveTo>
                  <a:pt x="124" y="1401"/>
                </a:moveTo>
                <a:cubicBezTo>
                  <a:pt x="272" y="1339"/>
                  <a:pt x="272" y="1339"/>
                  <a:pt x="272" y="1339"/>
                </a:cubicBezTo>
                <a:cubicBezTo>
                  <a:pt x="260" y="1295"/>
                  <a:pt x="265" y="1247"/>
                  <a:pt x="289" y="1206"/>
                </a:cubicBezTo>
                <a:cubicBezTo>
                  <a:pt x="161" y="1109"/>
                  <a:pt x="161" y="1109"/>
                  <a:pt x="161" y="1109"/>
                </a:cubicBezTo>
                <a:cubicBezTo>
                  <a:pt x="101" y="1197"/>
                  <a:pt x="91" y="1306"/>
                  <a:pt x="124" y="1401"/>
                </a:cubicBezTo>
                <a:close/>
                <a:moveTo>
                  <a:pt x="394" y="1456"/>
                </a:moveTo>
                <a:cubicBezTo>
                  <a:pt x="372" y="1451"/>
                  <a:pt x="351" y="1441"/>
                  <a:pt x="332" y="1427"/>
                </a:cubicBezTo>
                <a:cubicBezTo>
                  <a:pt x="313" y="1412"/>
                  <a:pt x="298" y="1394"/>
                  <a:pt x="287" y="1375"/>
                </a:cubicBezTo>
                <a:cubicBezTo>
                  <a:pt x="139" y="1437"/>
                  <a:pt x="139" y="1437"/>
                  <a:pt x="139" y="1437"/>
                </a:cubicBezTo>
                <a:cubicBezTo>
                  <a:pt x="161" y="1482"/>
                  <a:pt x="193" y="1522"/>
                  <a:pt x="235" y="1554"/>
                </a:cubicBezTo>
                <a:cubicBezTo>
                  <a:pt x="278" y="1586"/>
                  <a:pt x="325" y="1607"/>
                  <a:pt x="374" y="1616"/>
                </a:cubicBezTo>
                <a:lnTo>
                  <a:pt x="394" y="1456"/>
                </a:lnTo>
                <a:close/>
                <a:moveTo>
                  <a:pt x="457" y="963"/>
                </a:moveTo>
                <a:cubicBezTo>
                  <a:pt x="356" y="957"/>
                  <a:pt x="254" y="996"/>
                  <a:pt x="184" y="1078"/>
                </a:cubicBezTo>
                <a:cubicBezTo>
                  <a:pt x="312" y="1175"/>
                  <a:pt x="312" y="1175"/>
                  <a:pt x="312" y="1175"/>
                </a:cubicBezTo>
                <a:cubicBezTo>
                  <a:pt x="346" y="1140"/>
                  <a:pt x="391" y="1122"/>
                  <a:pt x="436" y="1123"/>
                </a:cubicBezTo>
                <a:lnTo>
                  <a:pt x="457" y="963"/>
                </a:lnTo>
                <a:close/>
                <a:moveTo>
                  <a:pt x="730" y="1147"/>
                </a:moveTo>
                <a:cubicBezTo>
                  <a:pt x="708" y="1102"/>
                  <a:pt x="676" y="1062"/>
                  <a:pt x="634" y="1030"/>
                </a:cubicBezTo>
                <a:cubicBezTo>
                  <a:pt x="591" y="997"/>
                  <a:pt x="544" y="977"/>
                  <a:pt x="495" y="968"/>
                </a:cubicBezTo>
                <a:cubicBezTo>
                  <a:pt x="475" y="1128"/>
                  <a:pt x="475" y="1128"/>
                  <a:pt x="475" y="1128"/>
                </a:cubicBezTo>
                <a:cubicBezTo>
                  <a:pt x="497" y="1133"/>
                  <a:pt x="518" y="1143"/>
                  <a:pt x="537" y="1157"/>
                </a:cubicBezTo>
                <a:cubicBezTo>
                  <a:pt x="556" y="1172"/>
                  <a:pt x="571" y="1189"/>
                  <a:pt x="582" y="1209"/>
                </a:cubicBezTo>
                <a:lnTo>
                  <a:pt x="730" y="1147"/>
                </a:lnTo>
                <a:close/>
                <a:moveTo>
                  <a:pt x="594" y="1552"/>
                </a:moveTo>
                <a:cubicBezTo>
                  <a:pt x="594" y="1552"/>
                  <a:pt x="594" y="1553"/>
                  <a:pt x="594" y="1553"/>
                </a:cubicBezTo>
                <a:cubicBezTo>
                  <a:pt x="594" y="1554"/>
                  <a:pt x="594" y="1554"/>
                  <a:pt x="594" y="1555"/>
                </a:cubicBezTo>
                <a:cubicBezTo>
                  <a:pt x="594" y="1554"/>
                  <a:pt x="594" y="1553"/>
                  <a:pt x="594" y="1552"/>
                </a:cubicBezTo>
                <a:close/>
                <a:moveTo>
                  <a:pt x="2163" y="1475"/>
                </a:moveTo>
                <a:cubicBezTo>
                  <a:pt x="2143" y="1441"/>
                  <a:pt x="2118" y="1412"/>
                  <a:pt x="2090" y="1387"/>
                </a:cubicBezTo>
                <a:cubicBezTo>
                  <a:pt x="2095" y="1392"/>
                  <a:pt x="2101" y="1397"/>
                  <a:pt x="2106" y="1402"/>
                </a:cubicBezTo>
                <a:cubicBezTo>
                  <a:pt x="2119" y="1398"/>
                  <a:pt x="2132" y="1394"/>
                  <a:pt x="2145" y="1389"/>
                </a:cubicBezTo>
                <a:cubicBezTo>
                  <a:pt x="2241" y="1354"/>
                  <a:pt x="2323" y="1298"/>
                  <a:pt x="2389" y="1228"/>
                </a:cubicBezTo>
                <a:cubicBezTo>
                  <a:pt x="2148" y="1028"/>
                  <a:pt x="2148" y="1028"/>
                  <a:pt x="2148" y="1028"/>
                </a:cubicBezTo>
                <a:cubicBezTo>
                  <a:pt x="2116" y="1057"/>
                  <a:pt x="2079" y="1080"/>
                  <a:pt x="2037" y="1096"/>
                </a:cubicBezTo>
                <a:cubicBezTo>
                  <a:pt x="1995" y="1111"/>
                  <a:pt x="1951" y="1118"/>
                  <a:pt x="1909" y="1116"/>
                </a:cubicBezTo>
                <a:cubicBezTo>
                  <a:pt x="1877" y="1300"/>
                  <a:pt x="1877" y="1300"/>
                  <a:pt x="1877" y="1300"/>
                </a:cubicBezTo>
                <a:cubicBezTo>
                  <a:pt x="1848" y="1298"/>
                  <a:pt x="1819" y="1300"/>
                  <a:pt x="1790" y="1305"/>
                </a:cubicBezTo>
                <a:cubicBezTo>
                  <a:pt x="1825" y="1102"/>
                  <a:pt x="1825" y="1102"/>
                  <a:pt x="1825" y="1102"/>
                </a:cubicBezTo>
                <a:cubicBezTo>
                  <a:pt x="1742" y="1076"/>
                  <a:pt x="1671" y="1019"/>
                  <a:pt x="1629" y="939"/>
                </a:cubicBezTo>
                <a:cubicBezTo>
                  <a:pt x="1360" y="1038"/>
                  <a:pt x="1360" y="1038"/>
                  <a:pt x="1360" y="1038"/>
                </a:cubicBezTo>
                <a:cubicBezTo>
                  <a:pt x="1360" y="1038"/>
                  <a:pt x="1360" y="1038"/>
                  <a:pt x="1360" y="1038"/>
                </a:cubicBezTo>
                <a:cubicBezTo>
                  <a:pt x="1316" y="1019"/>
                  <a:pt x="1270" y="1005"/>
                  <a:pt x="1223" y="997"/>
                </a:cubicBezTo>
                <a:cubicBezTo>
                  <a:pt x="1214" y="966"/>
                  <a:pt x="1207" y="933"/>
                  <a:pt x="1201" y="900"/>
                </a:cubicBezTo>
                <a:cubicBezTo>
                  <a:pt x="1138" y="502"/>
                  <a:pt x="1409" y="128"/>
                  <a:pt x="1807" y="64"/>
                </a:cubicBezTo>
                <a:cubicBezTo>
                  <a:pt x="2205" y="0"/>
                  <a:pt x="2580" y="272"/>
                  <a:pt x="2643" y="670"/>
                </a:cubicBezTo>
                <a:cubicBezTo>
                  <a:pt x="2700" y="1025"/>
                  <a:pt x="2491" y="1361"/>
                  <a:pt x="2163" y="1475"/>
                </a:cubicBezTo>
                <a:close/>
                <a:moveTo>
                  <a:pt x="1643" y="608"/>
                </a:moveTo>
                <a:cubicBezTo>
                  <a:pt x="1401" y="407"/>
                  <a:pt x="1401" y="407"/>
                  <a:pt x="1401" y="407"/>
                </a:cubicBezTo>
                <a:cubicBezTo>
                  <a:pt x="1288" y="564"/>
                  <a:pt x="1247" y="770"/>
                  <a:pt x="1305" y="967"/>
                </a:cubicBezTo>
                <a:cubicBezTo>
                  <a:pt x="1600" y="859"/>
                  <a:pt x="1600" y="859"/>
                  <a:pt x="1600" y="859"/>
                </a:cubicBezTo>
                <a:cubicBezTo>
                  <a:pt x="1579" y="771"/>
                  <a:pt x="1597" y="681"/>
                  <a:pt x="1643" y="608"/>
                </a:cubicBezTo>
                <a:close/>
                <a:moveTo>
                  <a:pt x="1989" y="145"/>
                </a:moveTo>
                <a:cubicBezTo>
                  <a:pt x="1894" y="135"/>
                  <a:pt x="1795" y="146"/>
                  <a:pt x="1700" y="181"/>
                </a:cubicBezTo>
                <a:cubicBezTo>
                  <a:pt x="1604" y="216"/>
                  <a:pt x="1522" y="272"/>
                  <a:pt x="1456" y="342"/>
                </a:cubicBezTo>
                <a:cubicBezTo>
                  <a:pt x="1697" y="542"/>
                  <a:pt x="1697" y="542"/>
                  <a:pt x="1697" y="542"/>
                </a:cubicBezTo>
                <a:cubicBezTo>
                  <a:pt x="1728" y="513"/>
                  <a:pt x="1765" y="490"/>
                  <a:pt x="1808" y="474"/>
                </a:cubicBezTo>
                <a:cubicBezTo>
                  <a:pt x="1850" y="459"/>
                  <a:pt x="1894" y="452"/>
                  <a:pt x="1936" y="454"/>
                </a:cubicBezTo>
                <a:lnTo>
                  <a:pt x="1989" y="145"/>
                </a:lnTo>
                <a:close/>
                <a:moveTo>
                  <a:pt x="2216" y="631"/>
                </a:moveTo>
                <a:cubicBezTo>
                  <a:pt x="2510" y="523"/>
                  <a:pt x="2510" y="523"/>
                  <a:pt x="2510" y="523"/>
                </a:cubicBezTo>
                <a:cubicBezTo>
                  <a:pt x="2427" y="335"/>
                  <a:pt x="2262" y="205"/>
                  <a:pt x="2073" y="159"/>
                </a:cubicBezTo>
                <a:cubicBezTo>
                  <a:pt x="2020" y="469"/>
                  <a:pt x="2020" y="469"/>
                  <a:pt x="2020" y="469"/>
                </a:cubicBezTo>
                <a:cubicBezTo>
                  <a:pt x="2102" y="494"/>
                  <a:pt x="2174" y="551"/>
                  <a:pt x="2216" y="631"/>
                </a:cubicBezTo>
                <a:close/>
                <a:moveTo>
                  <a:pt x="2539" y="603"/>
                </a:moveTo>
                <a:cubicBezTo>
                  <a:pt x="2245" y="712"/>
                  <a:pt x="2245" y="712"/>
                  <a:pt x="2245" y="712"/>
                </a:cubicBezTo>
                <a:cubicBezTo>
                  <a:pt x="2265" y="800"/>
                  <a:pt x="2248" y="890"/>
                  <a:pt x="2202" y="962"/>
                </a:cubicBezTo>
                <a:cubicBezTo>
                  <a:pt x="2443" y="1163"/>
                  <a:pt x="2443" y="1163"/>
                  <a:pt x="2443" y="1163"/>
                </a:cubicBezTo>
                <a:cubicBezTo>
                  <a:pt x="2557" y="1006"/>
                  <a:pt x="2598" y="800"/>
                  <a:pt x="2539" y="603"/>
                </a:cubicBezTo>
                <a:close/>
                <a:moveTo>
                  <a:pt x="2066" y="1368"/>
                </a:moveTo>
                <a:cubicBezTo>
                  <a:pt x="2072" y="1372"/>
                  <a:pt x="2078" y="1377"/>
                  <a:pt x="2084" y="1382"/>
                </a:cubicBezTo>
                <a:cubicBezTo>
                  <a:pt x="2078" y="1377"/>
                  <a:pt x="2072" y="1372"/>
                  <a:pt x="2066" y="1368"/>
                </a:cubicBezTo>
                <a:close/>
                <a:moveTo>
                  <a:pt x="1390" y="1053"/>
                </a:moveTo>
                <a:cubicBezTo>
                  <a:pt x="1383" y="1050"/>
                  <a:pt x="1377" y="1046"/>
                  <a:pt x="1370" y="1043"/>
                </a:cubicBezTo>
                <a:cubicBezTo>
                  <a:pt x="1377" y="1046"/>
                  <a:pt x="1383" y="1050"/>
                  <a:pt x="1390" y="1053"/>
                </a:cubicBezTo>
                <a:close/>
                <a:moveTo>
                  <a:pt x="1437" y="1081"/>
                </a:moveTo>
                <a:cubicBezTo>
                  <a:pt x="1432" y="1078"/>
                  <a:pt x="1426" y="1074"/>
                  <a:pt x="1420" y="1070"/>
                </a:cubicBezTo>
                <a:cubicBezTo>
                  <a:pt x="1426" y="1074"/>
                  <a:pt x="1432" y="1078"/>
                  <a:pt x="1437" y="1081"/>
                </a:cubicBezTo>
                <a:close/>
                <a:moveTo>
                  <a:pt x="1764" y="1311"/>
                </a:moveTo>
                <a:cubicBezTo>
                  <a:pt x="1773" y="1309"/>
                  <a:pt x="1781" y="1307"/>
                  <a:pt x="1790" y="1305"/>
                </a:cubicBezTo>
                <a:cubicBezTo>
                  <a:pt x="1790" y="1305"/>
                  <a:pt x="1790" y="1305"/>
                  <a:pt x="1790" y="1305"/>
                </a:cubicBezTo>
                <a:cubicBezTo>
                  <a:pt x="1781" y="1307"/>
                  <a:pt x="1773" y="1309"/>
                  <a:pt x="1764" y="1311"/>
                </a:cubicBezTo>
                <a:close/>
                <a:moveTo>
                  <a:pt x="1877" y="1300"/>
                </a:moveTo>
                <a:cubicBezTo>
                  <a:pt x="1893" y="1301"/>
                  <a:pt x="1909" y="1303"/>
                  <a:pt x="1925" y="1306"/>
                </a:cubicBezTo>
                <a:cubicBezTo>
                  <a:pt x="1909" y="1303"/>
                  <a:pt x="1893" y="1301"/>
                  <a:pt x="1877" y="1300"/>
                </a:cubicBezTo>
                <a:close/>
                <a:moveTo>
                  <a:pt x="1940" y="1309"/>
                </a:moveTo>
                <a:cubicBezTo>
                  <a:pt x="1935" y="1308"/>
                  <a:pt x="1930" y="1307"/>
                  <a:pt x="1925" y="1306"/>
                </a:cubicBezTo>
                <a:cubicBezTo>
                  <a:pt x="1930" y="1307"/>
                  <a:pt x="1935" y="1308"/>
                  <a:pt x="1940" y="1309"/>
                </a:cubicBezTo>
                <a:close/>
                <a:moveTo>
                  <a:pt x="1964" y="1316"/>
                </a:moveTo>
                <a:cubicBezTo>
                  <a:pt x="1959" y="1315"/>
                  <a:pt x="1954" y="1313"/>
                  <a:pt x="1949" y="1312"/>
                </a:cubicBezTo>
                <a:cubicBezTo>
                  <a:pt x="1954" y="1313"/>
                  <a:pt x="1959" y="1315"/>
                  <a:pt x="1964" y="1316"/>
                </a:cubicBezTo>
                <a:close/>
                <a:moveTo>
                  <a:pt x="1963" y="1997"/>
                </a:moveTo>
                <a:cubicBezTo>
                  <a:pt x="1811" y="2045"/>
                  <a:pt x="1651" y="1986"/>
                  <a:pt x="1564" y="1863"/>
                </a:cubicBezTo>
                <a:cubicBezTo>
                  <a:pt x="1578" y="1846"/>
                  <a:pt x="1590" y="1827"/>
                  <a:pt x="1602" y="1808"/>
                </a:cubicBezTo>
                <a:cubicBezTo>
                  <a:pt x="1622" y="1842"/>
                  <a:pt x="1648" y="1871"/>
                  <a:pt x="1680" y="1895"/>
                </a:cubicBezTo>
                <a:cubicBezTo>
                  <a:pt x="1733" y="1818"/>
                  <a:pt x="1733" y="1818"/>
                  <a:pt x="1733" y="1818"/>
                </a:cubicBezTo>
                <a:cubicBezTo>
                  <a:pt x="1691" y="1786"/>
                  <a:pt x="1663" y="1738"/>
                  <a:pt x="1655" y="1685"/>
                </a:cubicBezTo>
                <a:cubicBezTo>
                  <a:pt x="1667" y="1645"/>
                  <a:pt x="1674" y="1604"/>
                  <a:pt x="1677" y="1562"/>
                </a:cubicBezTo>
                <a:cubicBezTo>
                  <a:pt x="1695" y="1527"/>
                  <a:pt x="1724" y="1498"/>
                  <a:pt x="1759" y="1479"/>
                </a:cubicBezTo>
                <a:cubicBezTo>
                  <a:pt x="1719" y="1394"/>
                  <a:pt x="1719" y="1394"/>
                  <a:pt x="1719" y="1394"/>
                </a:cubicBezTo>
                <a:cubicBezTo>
                  <a:pt x="1701" y="1404"/>
                  <a:pt x="1683" y="1415"/>
                  <a:pt x="1668" y="1428"/>
                </a:cubicBezTo>
                <a:cubicBezTo>
                  <a:pt x="1663" y="1407"/>
                  <a:pt x="1658" y="1385"/>
                  <a:pt x="1651" y="1364"/>
                </a:cubicBezTo>
                <a:cubicBezTo>
                  <a:pt x="1680" y="1343"/>
                  <a:pt x="1713" y="1327"/>
                  <a:pt x="1749" y="1316"/>
                </a:cubicBezTo>
                <a:cubicBezTo>
                  <a:pt x="1937" y="1257"/>
                  <a:pt x="2137" y="1361"/>
                  <a:pt x="2196" y="1550"/>
                </a:cubicBezTo>
                <a:cubicBezTo>
                  <a:pt x="2256" y="1738"/>
                  <a:pt x="2151" y="1938"/>
                  <a:pt x="1963" y="1997"/>
                </a:cubicBezTo>
                <a:close/>
                <a:moveTo>
                  <a:pt x="1778" y="1470"/>
                </a:moveTo>
                <a:cubicBezTo>
                  <a:pt x="1806" y="1458"/>
                  <a:pt x="1838" y="1452"/>
                  <a:pt x="1871" y="1455"/>
                </a:cubicBezTo>
                <a:cubicBezTo>
                  <a:pt x="1904" y="1457"/>
                  <a:pt x="1935" y="1468"/>
                  <a:pt x="1962" y="1484"/>
                </a:cubicBezTo>
                <a:cubicBezTo>
                  <a:pt x="2015" y="1407"/>
                  <a:pt x="2015" y="1407"/>
                  <a:pt x="2015" y="1407"/>
                </a:cubicBezTo>
                <a:cubicBezTo>
                  <a:pt x="1975" y="1382"/>
                  <a:pt x="1929" y="1365"/>
                  <a:pt x="1878" y="1362"/>
                </a:cubicBezTo>
                <a:cubicBezTo>
                  <a:pt x="1828" y="1358"/>
                  <a:pt x="1780" y="1367"/>
                  <a:pt x="1737" y="1385"/>
                </a:cubicBezTo>
                <a:lnTo>
                  <a:pt x="1778" y="1470"/>
                </a:lnTo>
                <a:close/>
                <a:moveTo>
                  <a:pt x="1974" y="1928"/>
                </a:moveTo>
                <a:cubicBezTo>
                  <a:pt x="1934" y="1843"/>
                  <a:pt x="1934" y="1843"/>
                  <a:pt x="1934" y="1843"/>
                </a:cubicBezTo>
                <a:cubicBezTo>
                  <a:pt x="1905" y="1855"/>
                  <a:pt x="1873" y="1861"/>
                  <a:pt x="1840" y="1858"/>
                </a:cubicBezTo>
                <a:cubicBezTo>
                  <a:pt x="1807" y="1856"/>
                  <a:pt x="1776" y="1845"/>
                  <a:pt x="1750" y="1829"/>
                </a:cubicBezTo>
                <a:cubicBezTo>
                  <a:pt x="1697" y="1906"/>
                  <a:pt x="1697" y="1906"/>
                  <a:pt x="1697" y="1906"/>
                </a:cubicBezTo>
                <a:cubicBezTo>
                  <a:pt x="1736" y="1932"/>
                  <a:pt x="1783" y="1948"/>
                  <a:pt x="1833" y="1952"/>
                </a:cubicBezTo>
                <a:cubicBezTo>
                  <a:pt x="1883" y="1955"/>
                  <a:pt x="1931" y="1947"/>
                  <a:pt x="1974" y="1928"/>
                </a:cubicBezTo>
                <a:close/>
                <a:moveTo>
                  <a:pt x="2150" y="1690"/>
                </a:moveTo>
                <a:cubicBezTo>
                  <a:pt x="2056" y="1682"/>
                  <a:pt x="2056" y="1682"/>
                  <a:pt x="2056" y="1682"/>
                </a:cubicBezTo>
                <a:cubicBezTo>
                  <a:pt x="2048" y="1749"/>
                  <a:pt x="2007" y="1804"/>
                  <a:pt x="1952" y="1834"/>
                </a:cubicBezTo>
                <a:cubicBezTo>
                  <a:pt x="1992" y="1919"/>
                  <a:pt x="1992" y="1919"/>
                  <a:pt x="1992" y="1919"/>
                </a:cubicBezTo>
                <a:cubicBezTo>
                  <a:pt x="2077" y="1875"/>
                  <a:pt x="2138" y="1791"/>
                  <a:pt x="2150" y="1690"/>
                </a:cubicBezTo>
                <a:close/>
                <a:moveTo>
                  <a:pt x="2031" y="1418"/>
                </a:moveTo>
                <a:cubicBezTo>
                  <a:pt x="1978" y="1496"/>
                  <a:pt x="1978" y="1496"/>
                  <a:pt x="1978" y="1496"/>
                </a:cubicBezTo>
                <a:cubicBezTo>
                  <a:pt x="2028" y="1534"/>
                  <a:pt x="2060" y="1595"/>
                  <a:pt x="2058" y="1662"/>
                </a:cubicBezTo>
                <a:cubicBezTo>
                  <a:pt x="2151" y="1669"/>
                  <a:pt x="2151" y="1669"/>
                  <a:pt x="2151" y="1669"/>
                </a:cubicBezTo>
                <a:cubicBezTo>
                  <a:pt x="2155" y="1568"/>
                  <a:pt x="2108" y="1475"/>
                  <a:pt x="2031" y="1418"/>
                </a:cubicBezTo>
                <a:close/>
                <a:moveTo>
                  <a:pt x="1377" y="2017"/>
                </a:moveTo>
                <a:cubicBezTo>
                  <a:pt x="1109" y="2150"/>
                  <a:pt x="784" y="2042"/>
                  <a:pt x="650" y="1774"/>
                </a:cubicBezTo>
                <a:cubicBezTo>
                  <a:pt x="517" y="1506"/>
                  <a:pt x="626" y="1180"/>
                  <a:pt x="893" y="1047"/>
                </a:cubicBezTo>
                <a:cubicBezTo>
                  <a:pt x="1161" y="913"/>
                  <a:pt x="1487" y="1022"/>
                  <a:pt x="1620" y="1290"/>
                </a:cubicBezTo>
                <a:cubicBezTo>
                  <a:pt x="1754" y="1558"/>
                  <a:pt x="1645" y="1883"/>
                  <a:pt x="1377" y="2017"/>
                </a:cubicBezTo>
                <a:close/>
                <a:moveTo>
                  <a:pt x="1097" y="1065"/>
                </a:moveTo>
                <a:cubicBezTo>
                  <a:pt x="1145" y="1399"/>
                  <a:pt x="1145" y="1399"/>
                  <a:pt x="1145" y="1399"/>
                </a:cubicBezTo>
                <a:cubicBezTo>
                  <a:pt x="1160" y="1399"/>
                  <a:pt x="1176" y="1402"/>
                  <a:pt x="1191" y="1408"/>
                </a:cubicBezTo>
                <a:cubicBezTo>
                  <a:pt x="1205" y="1414"/>
                  <a:pt x="1218" y="1422"/>
                  <a:pt x="1229" y="1432"/>
                </a:cubicBezTo>
                <a:cubicBezTo>
                  <a:pt x="1491" y="1227"/>
                  <a:pt x="1491" y="1227"/>
                  <a:pt x="1491" y="1227"/>
                </a:cubicBezTo>
                <a:cubicBezTo>
                  <a:pt x="1443" y="1172"/>
                  <a:pt x="1382" y="1126"/>
                  <a:pt x="1310" y="1097"/>
                </a:cubicBezTo>
                <a:cubicBezTo>
                  <a:pt x="1240" y="1069"/>
                  <a:pt x="1168" y="1059"/>
                  <a:pt x="1097" y="1065"/>
                </a:cubicBezTo>
                <a:close/>
                <a:moveTo>
                  <a:pt x="711" y="1335"/>
                </a:moveTo>
                <a:cubicBezTo>
                  <a:pt x="1026" y="1462"/>
                  <a:pt x="1026" y="1462"/>
                  <a:pt x="1026" y="1462"/>
                </a:cubicBezTo>
                <a:cubicBezTo>
                  <a:pt x="1043" y="1435"/>
                  <a:pt x="1068" y="1415"/>
                  <a:pt x="1097" y="1406"/>
                </a:cubicBezTo>
                <a:cubicBezTo>
                  <a:pt x="1050" y="1072"/>
                  <a:pt x="1050" y="1072"/>
                  <a:pt x="1050" y="1072"/>
                </a:cubicBezTo>
                <a:cubicBezTo>
                  <a:pt x="905" y="1099"/>
                  <a:pt x="776" y="1193"/>
                  <a:pt x="711" y="1335"/>
                </a:cubicBezTo>
                <a:close/>
                <a:moveTo>
                  <a:pt x="755" y="1805"/>
                </a:moveTo>
                <a:cubicBezTo>
                  <a:pt x="1021" y="1596"/>
                  <a:pt x="1021" y="1596"/>
                  <a:pt x="1021" y="1596"/>
                </a:cubicBezTo>
                <a:cubicBezTo>
                  <a:pt x="1007" y="1569"/>
                  <a:pt x="1002" y="1538"/>
                  <a:pt x="1008" y="1507"/>
                </a:cubicBezTo>
                <a:cubicBezTo>
                  <a:pt x="693" y="1380"/>
                  <a:pt x="693" y="1380"/>
                  <a:pt x="693" y="1380"/>
                </a:cubicBezTo>
                <a:cubicBezTo>
                  <a:pt x="642" y="1528"/>
                  <a:pt x="670" y="1685"/>
                  <a:pt x="755" y="1805"/>
                </a:cubicBezTo>
                <a:close/>
                <a:moveTo>
                  <a:pt x="1182" y="1998"/>
                </a:moveTo>
                <a:cubicBezTo>
                  <a:pt x="1135" y="1669"/>
                  <a:pt x="1135" y="1669"/>
                  <a:pt x="1135" y="1669"/>
                </a:cubicBezTo>
                <a:cubicBezTo>
                  <a:pt x="1120" y="1668"/>
                  <a:pt x="1105" y="1665"/>
                  <a:pt x="1090" y="1659"/>
                </a:cubicBezTo>
                <a:cubicBezTo>
                  <a:pt x="1075" y="1653"/>
                  <a:pt x="1062" y="1645"/>
                  <a:pt x="1050" y="1634"/>
                </a:cubicBezTo>
                <a:cubicBezTo>
                  <a:pt x="785" y="1842"/>
                  <a:pt x="785" y="1842"/>
                  <a:pt x="785" y="1842"/>
                </a:cubicBezTo>
                <a:cubicBezTo>
                  <a:pt x="832" y="1895"/>
                  <a:pt x="891" y="1938"/>
                  <a:pt x="961" y="1966"/>
                </a:cubicBezTo>
                <a:cubicBezTo>
                  <a:pt x="1033" y="1995"/>
                  <a:pt x="1109" y="2005"/>
                  <a:pt x="1182" y="1998"/>
                </a:cubicBezTo>
                <a:close/>
                <a:moveTo>
                  <a:pt x="1560" y="1728"/>
                </a:moveTo>
                <a:cubicBezTo>
                  <a:pt x="1255" y="1606"/>
                  <a:pt x="1255" y="1606"/>
                  <a:pt x="1255" y="1606"/>
                </a:cubicBezTo>
                <a:cubicBezTo>
                  <a:pt x="1237" y="1633"/>
                  <a:pt x="1212" y="1652"/>
                  <a:pt x="1183" y="1662"/>
                </a:cubicBezTo>
                <a:cubicBezTo>
                  <a:pt x="1229" y="1990"/>
                  <a:pt x="1229" y="1990"/>
                  <a:pt x="1229" y="1990"/>
                </a:cubicBezTo>
                <a:cubicBezTo>
                  <a:pt x="1371" y="1961"/>
                  <a:pt x="1496" y="1867"/>
                  <a:pt x="1560" y="1728"/>
                </a:cubicBezTo>
                <a:close/>
                <a:moveTo>
                  <a:pt x="1520" y="1266"/>
                </a:moveTo>
                <a:cubicBezTo>
                  <a:pt x="1260" y="1470"/>
                  <a:pt x="1260" y="1470"/>
                  <a:pt x="1260" y="1470"/>
                </a:cubicBezTo>
                <a:cubicBezTo>
                  <a:pt x="1274" y="1497"/>
                  <a:pt x="1279" y="1529"/>
                  <a:pt x="1272" y="1561"/>
                </a:cubicBezTo>
                <a:cubicBezTo>
                  <a:pt x="1578" y="1683"/>
                  <a:pt x="1578" y="1683"/>
                  <a:pt x="1578" y="1683"/>
                </a:cubicBezTo>
                <a:cubicBezTo>
                  <a:pt x="1628" y="1538"/>
                  <a:pt x="1602" y="1384"/>
                  <a:pt x="1520" y="126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 name="Text Placeholder 4"/>
          <p:cNvSpPr>
            <a:spLocks noGrp="1"/>
          </p:cNvSpPr>
          <p:nvPr>
            <p:ph type="body" sz="quarter" idx="10"/>
          </p:nvPr>
        </p:nvSpPr>
        <p:spPr>
          <a:xfrm>
            <a:off x="517525" y="1695450"/>
            <a:ext cx="5404810" cy="4302716"/>
          </a:xfrm>
        </p:spPr>
        <p:txBody>
          <a:bodyPr/>
          <a:lstStyle/>
          <a:p>
            <a:pPr>
              <a:spcBef>
                <a:spcPts val="1200"/>
              </a:spcBef>
              <a:spcAft>
                <a:spcPts val="0"/>
              </a:spcAft>
            </a:pPr>
            <a:r>
              <a:rPr lang="en-US" sz="2800" dirty="0"/>
              <a:t>ASP.NET In Windows Azure  </a:t>
            </a:r>
          </a:p>
          <a:p>
            <a:pPr>
              <a:spcBef>
                <a:spcPts val="600"/>
              </a:spcBef>
              <a:spcAft>
                <a:spcPts val="0"/>
              </a:spcAft>
            </a:pPr>
            <a:r>
              <a:rPr lang="en-US" sz="2000" dirty="0">
                <a:solidFill>
                  <a:schemeClr val="accent2">
                    <a:alpha val="99000"/>
                  </a:schemeClr>
                </a:solidFill>
              </a:rPr>
              <a:t>Web Forms &amp; MVC</a:t>
            </a:r>
          </a:p>
          <a:p>
            <a:pPr>
              <a:spcBef>
                <a:spcPts val="600"/>
              </a:spcBef>
              <a:spcAft>
                <a:spcPts val="0"/>
              </a:spcAft>
            </a:pPr>
            <a:r>
              <a:rPr lang="en-US" sz="2000" dirty="0">
                <a:solidFill>
                  <a:schemeClr val="accent2">
                    <a:alpha val="99000"/>
                  </a:schemeClr>
                </a:solidFill>
              </a:rPr>
              <a:t>AJAX &amp; Stateless Web Roles</a:t>
            </a:r>
          </a:p>
          <a:p>
            <a:pPr>
              <a:spcBef>
                <a:spcPts val="600"/>
              </a:spcBef>
              <a:spcAft>
                <a:spcPts val="0"/>
              </a:spcAft>
            </a:pPr>
            <a:r>
              <a:rPr lang="en-US" sz="2000" dirty="0">
                <a:solidFill>
                  <a:schemeClr val="accent2">
                    <a:alpha val="99000"/>
                  </a:schemeClr>
                </a:solidFill>
              </a:rPr>
              <a:t>Session State</a:t>
            </a:r>
          </a:p>
          <a:p>
            <a:pPr>
              <a:spcBef>
                <a:spcPts val="600"/>
              </a:spcBef>
              <a:spcAft>
                <a:spcPts val="0"/>
              </a:spcAft>
            </a:pPr>
            <a:r>
              <a:rPr lang="en-US" sz="2000" dirty="0">
                <a:solidFill>
                  <a:schemeClr val="accent2">
                    <a:alpha val="99000"/>
                  </a:schemeClr>
                </a:solidFill>
              </a:rPr>
              <a:t>DNS</a:t>
            </a:r>
          </a:p>
          <a:p>
            <a:pPr>
              <a:spcBef>
                <a:spcPts val="1200"/>
              </a:spcBef>
              <a:spcAft>
                <a:spcPts val="0"/>
              </a:spcAft>
            </a:pPr>
            <a:r>
              <a:rPr lang="en-US" sz="2800" dirty="0"/>
              <a:t>Advanced Techniques</a:t>
            </a:r>
          </a:p>
          <a:p>
            <a:pPr>
              <a:spcBef>
                <a:spcPts val="600"/>
              </a:spcBef>
              <a:spcAft>
                <a:spcPts val="0"/>
              </a:spcAft>
            </a:pPr>
            <a:r>
              <a:rPr lang="en-US" sz="2000" dirty="0">
                <a:solidFill>
                  <a:schemeClr val="accent2">
                    <a:alpha val="99000"/>
                  </a:schemeClr>
                </a:solidFill>
              </a:rPr>
              <a:t>Full IIS</a:t>
            </a:r>
          </a:p>
          <a:p>
            <a:pPr>
              <a:spcBef>
                <a:spcPts val="600"/>
              </a:spcBef>
              <a:spcAft>
                <a:spcPts val="0"/>
              </a:spcAft>
            </a:pPr>
            <a:r>
              <a:rPr lang="en-US" sz="2000" dirty="0">
                <a:solidFill>
                  <a:schemeClr val="accent2">
                    <a:alpha val="99000"/>
                  </a:schemeClr>
                </a:solidFill>
              </a:rPr>
              <a:t>Multi-tenancy</a:t>
            </a:r>
          </a:p>
          <a:p>
            <a:pPr>
              <a:spcBef>
                <a:spcPts val="600"/>
              </a:spcBef>
              <a:spcAft>
                <a:spcPts val="0"/>
              </a:spcAft>
            </a:pPr>
            <a:r>
              <a:rPr lang="en-US" sz="2000" dirty="0">
                <a:solidFill>
                  <a:schemeClr val="accent2">
                    <a:alpha val="99000"/>
                  </a:schemeClr>
                </a:solidFill>
              </a:rPr>
              <a:t>Web Deploy</a:t>
            </a:r>
          </a:p>
          <a:p>
            <a:pPr>
              <a:spcBef>
                <a:spcPts val="1200"/>
              </a:spcBef>
              <a:spcAft>
                <a:spcPts val="0"/>
              </a:spcAft>
            </a:pPr>
            <a:r>
              <a:rPr lang="en-US" sz="2800" dirty="0"/>
              <a:t>Challenges</a:t>
            </a:r>
          </a:p>
          <a:p>
            <a:pPr>
              <a:spcBef>
                <a:spcPts val="600"/>
              </a:spcBef>
              <a:spcAft>
                <a:spcPts val="0"/>
              </a:spcAft>
            </a:pPr>
            <a:r>
              <a:rPr lang="en-US" sz="2000" dirty="0">
                <a:solidFill>
                  <a:schemeClr val="accent2">
                    <a:alpha val="99000"/>
                  </a:schemeClr>
                </a:solidFill>
              </a:rPr>
              <a:t>File Upload</a:t>
            </a:r>
          </a:p>
        </p:txBody>
      </p:sp>
    </p:spTree>
    <p:extLst>
      <p:ext uri="{BB962C8B-B14F-4D97-AF65-F5344CB8AC3E}">
        <p14:creationId xmlns:p14="http://schemas.microsoft.com/office/powerpoint/2010/main" val="11282547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after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additive="base">
                                        <p:cTn id="7" dur="500" fill="hold"/>
                                        <p:tgtEl>
                                          <p:spTgt spid="5">
                                            <p:txEl>
                                              <p:pRg st="0" end="0"/>
                                            </p:txEl>
                                          </p:spTgt>
                                        </p:tgtEl>
                                        <p:attrNameLst>
                                          <p:attrName>ppt_x</p:attrName>
                                        </p:attrNameLst>
                                      </p:cBhvr>
                                      <p:tavLst>
                                        <p:tav tm="0">
                                          <p:val>
                                            <p:strVal val="1+#ppt_w/2"/>
                                          </p:val>
                                        </p:tav>
                                        <p:tav tm="100000">
                                          <p:val>
                                            <p:strVal val="#ppt_x"/>
                                          </p:val>
                                        </p:tav>
                                      </p:tavLst>
                                    </p:anim>
                                    <p:anim calcmode="lin" valueType="num">
                                      <p:cBhvr additive="base">
                                        <p:cTn id="8" dur="500" fill="hold"/>
                                        <p:tgtEl>
                                          <p:spTgt spid="5">
                                            <p:txEl>
                                              <p:pRg st="0" end="0"/>
                                            </p:txEl>
                                          </p:spTgt>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anim calcmode="lin" valueType="num">
                                      <p:cBhvr additive="base">
                                        <p:cTn id="11" dur="500" fill="hold"/>
                                        <p:tgtEl>
                                          <p:spTgt spid="5">
                                            <p:txEl>
                                              <p:pRg st="1" end="1"/>
                                            </p:txEl>
                                          </p:spTgt>
                                        </p:tgtEl>
                                        <p:attrNameLst>
                                          <p:attrName>ppt_x</p:attrName>
                                        </p:attrNameLst>
                                      </p:cBhvr>
                                      <p:tavLst>
                                        <p:tav tm="0">
                                          <p:val>
                                            <p:strVal val="1+#ppt_w/2"/>
                                          </p:val>
                                        </p:tav>
                                        <p:tav tm="100000">
                                          <p:val>
                                            <p:strVal val="#ppt_x"/>
                                          </p:val>
                                        </p:tav>
                                      </p:tavLst>
                                    </p:anim>
                                    <p:anim calcmode="lin" valueType="num">
                                      <p:cBhvr additive="base">
                                        <p:cTn id="12" dur="500" fill="hold"/>
                                        <p:tgtEl>
                                          <p:spTgt spid="5">
                                            <p:txEl>
                                              <p:pRg st="1" end="1"/>
                                            </p:txEl>
                                          </p:spTgt>
                                        </p:tgtEl>
                                        <p:attrNameLst>
                                          <p:attrName>ppt_y</p:attrName>
                                        </p:attrNameLst>
                                      </p:cBhvr>
                                      <p:tavLst>
                                        <p:tav tm="0">
                                          <p:val>
                                            <p:strVal val="#ppt_y"/>
                                          </p:val>
                                        </p:tav>
                                        <p:tav tm="100000">
                                          <p:val>
                                            <p:strVal val="#ppt_y"/>
                                          </p:val>
                                        </p:tav>
                                      </p:tavLst>
                                    </p:anim>
                                  </p:childTnLst>
                                </p:cTn>
                              </p:par>
                              <p:par>
                                <p:cTn id="13" presetID="2" presetClass="entr" presetSubtype="2" decel="100000" fill="hold" grpId="0" nodeType="withEffect">
                                  <p:stCondLst>
                                    <p:cond delay="0"/>
                                  </p:stCondLst>
                                  <p:childTnLst>
                                    <p:set>
                                      <p:cBhvr>
                                        <p:cTn id="14" dur="1" fill="hold">
                                          <p:stCondLst>
                                            <p:cond delay="0"/>
                                          </p:stCondLst>
                                        </p:cTn>
                                        <p:tgtEl>
                                          <p:spTgt spid="5">
                                            <p:txEl>
                                              <p:pRg st="2" end="2"/>
                                            </p:txEl>
                                          </p:spTgt>
                                        </p:tgtEl>
                                        <p:attrNameLst>
                                          <p:attrName>style.visibility</p:attrName>
                                        </p:attrNameLst>
                                      </p:cBhvr>
                                      <p:to>
                                        <p:strVal val="visible"/>
                                      </p:to>
                                    </p:set>
                                    <p:anim calcmode="lin" valueType="num">
                                      <p:cBhvr additive="base">
                                        <p:cTn id="15" dur="500" fill="hold"/>
                                        <p:tgtEl>
                                          <p:spTgt spid="5">
                                            <p:txEl>
                                              <p:pRg st="2" end="2"/>
                                            </p:txEl>
                                          </p:spTgt>
                                        </p:tgtEl>
                                        <p:attrNameLst>
                                          <p:attrName>ppt_x</p:attrName>
                                        </p:attrNameLst>
                                      </p:cBhvr>
                                      <p:tavLst>
                                        <p:tav tm="0">
                                          <p:val>
                                            <p:strVal val="1+#ppt_w/2"/>
                                          </p:val>
                                        </p:tav>
                                        <p:tav tm="100000">
                                          <p:val>
                                            <p:strVal val="#ppt_x"/>
                                          </p:val>
                                        </p:tav>
                                      </p:tavLst>
                                    </p:anim>
                                    <p:anim calcmode="lin" valueType="num">
                                      <p:cBhvr additive="base">
                                        <p:cTn id="16" dur="500" fill="hold"/>
                                        <p:tgtEl>
                                          <p:spTgt spid="5">
                                            <p:txEl>
                                              <p:pRg st="2" end="2"/>
                                            </p:txEl>
                                          </p:spTgt>
                                        </p:tgtEl>
                                        <p:attrNameLst>
                                          <p:attrName>ppt_y</p:attrName>
                                        </p:attrNameLst>
                                      </p:cBhvr>
                                      <p:tavLst>
                                        <p:tav tm="0">
                                          <p:val>
                                            <p:strVal val="#ppt_y"/>
                                          </p:val>
                                        </p:tav>
                                        <p:tav tm="100000">
                                          <p:val>
                                            <p:strVal val="#ppt_y"/>
                                          </p:val>
                                        </p:tav>
                                      </p:tavLst>
                                    </p:anim>
                                  </p:childTnLst>
                                </p:cTn>
                              </p:par>
                              <p:par>
                                <p:cTn id="17" presetID="2" presetClass="entr" presetSubtype="2" decel="100000" fill="hold" grpId="0" nodeType="withEffect">
                                  <p:stCondLst>
                                    <p:cond delay="0"/>
                                  </p:stCondLst>
                                  <p:childTnLst>
                                    <p:set>
                                      <p:cBhvr>
                                        <p:cTn id="18" dur="1" fill="hold">
                                          <p:stCondLst>
                                            <p:cond delay="0"/>
                                          </p:stCondLst>
                                        </p:cTn>
                                        <p:tgtEl>
                                          <p:spTgt spid="5">
                                            <p:txEl>
                                              <p:pRg st="3" end="3"/>
                                            </p:txEl>
                                          </p:spTgt>
                                        </p:tgtEl>
                                        <p:attrNameLst>
                                          <p:attrName>style.visibility</p:attrName>
                                        </p:attrNameLst>
                                      </p:cBhvr>
                                      <p:to>
                                        <p:strVal val="visible"/>
                                      </p:to>
                                    </p:set>
                                    <p:anim calcmode="lin" valueType="num">
                                      <p:cBhvr additive="base">
                                        <p:cTn id="19" dur="500" fill="hold"/>
                                        <p:tgtEl>
                                          <p:spTgt spid="5">
                                            <p:txEl>
                                              <p:pRg st="3" end="3"/>
                                            </p:txEl>
                                          </p:spTgt>
                                        </p:tgtEl>
                                        <p:attrNameLst>
                                          <p:attrName>ppt_x</p:attrName>
                                        </p:attrNameLst>
                                      </p:cBhvr>
                                      <p:tavLst>
                                        <p:tav tm="0">
                                          <p:val>
                                            <p:strVal val="1+#ppt_w/2"/>
                                          </p:val>
                                        </p:tav>
                                        <p:tav tm="100000">
                                          <p:val>
                                            <p:strVal val="#ppt_x"/>
                                          </p:val>
                                        </p:tav>
                                      </p:tavLst>
                                    </p:anim>
                                    <p:anim calcmode="lin" valueType="num">
                                      <p:cBhvr additive="base">
                                        <p:cTn id="20" dur="500" fill="hold"/>
                                        <p:tgtEl>
                                          <p:spTgt spid="5">
                                            <p:txEl>
                                              <p:pRg st="3" end="3"/>
                                            </p:txEl>
                                          </p:spTgt>
                                        </p:tgtEl>
                                        <p:attrNameLst>
                                          <p:attrName>ppt_y</p:attrName>
                                        </p:attrNameLst>
                                      </p:cBhvr>
                                      <p:tavLst>
                                        <p:tav tm="0">
                                          <p:val>
                                            <p:strVal val="#ppt_y"/>
                                          </p:val>
                                        </p:tav>
                                        <p:tav tm="100000">
                                          <p:val>
                                            <p:strVal val="#ppt_y"/>
                                          </p:val>
                                        </p:tav>
                                      </p:tavLst>
                                    </p:anim>
                                  </p:childTnLst>
                                </p:cTn>
                              </p:par>
                              <p:par>
                                <p:cTn id="21" presetID="2" presetClass="entr" presetSubtype="2" decel="100000" fill="hold" grpId="0" nodeType="withEffect">
                                  <p:stCondLst>
                                    <p:cond delay="0"/>
                                  </p:stCondLst>
                                  <p:childTnLst>
                                    <p:set>
                                      <p:cBhvr>
                                        <p:cTn id="22" dur="1" fill="hold">
                                          <p:stCondLst>
                                            <p:cond delay="0"/>
                                          </p:stCondLst>
                                        </p:cTn>
                                        <p:tgtEl>
                                          <p:spTgt spid="5">
                                            <p:txEl>
                                              <p:pRg st="4" end="4"/>
                                            </p:txEl>
                                          </p:spTgt>
                                        </p:tgtEl>
                                        <p:attrNameLst>
                                          <p:attrName>style.visibility</p:attrName>
                                        </p:attrNameLst>
                                      </p:cBhvr>
                                      <p:to>
                                        <p:strVal val="visible"/>
                                      </p:to>
                                    </p:set>
                                    <p:anim calcmode="lin" valueType="num">
                                      <p:cBhvr additive="base">
                                        <p:cTn id="23" dur="500" fill="hold"/>
                                        <p:tgtEl>
                                          <p:spTgt spid="5">
                                            <p:txEl>
                                              <p:pRg st="4" end="4"/>
                                            </p:txEl>
                                          </p:spTgt>
                                        </p:tgtEl>
                                        <p:attrNameLst>
                                          <p:attrName>ppt_x</p:attrName>
                                        </p:attrNameLst>
                                      </p:cBhvr>
                                      <p:tavLst>
                                        <p:tav tm="0">
                                          <p:val>
                                            <p:strVal val="1+#ppt_w/2"/>
                                          </p:val>
                                        </p:tav>
                                        <p:tav tm="100000">
                                          <p:val>
                                            <p:strVal val="#ppt_x"/>
                                          </p:val>
                                        </p:tav>
                                      </p:tavLst>
                                    </p:anim>
                                    <p:anim calcmode="lin" valueType="num">
                                      <p:cBhvr additive="base">
                                        <p:cTn id="24" dur="500" fill="hold"/>
                                        <p:tgtEl>
                                          <p:spTgt spid="5">
                                            <p:txEl>
                                              <p:pRg st="4" end="4"/>
                                            </p:txEl>
                                          </p:spTgt>
                                        </p:tgtEl>
                                        <p:attrNameLst>
                                          <p:attrName>ppt_y</p:attrName>
                                        </p:attrNameLst>
                                      </p:cBhvr>
                                      <p:tavLst>
                                        <p:tav tm="0">
                                          <p:val>
                                            <p:strVal val="#ppt_y"/>
                                          </p:val>
                                        </p:tav>
                                        <p:tav tm="100000">
                                          <p:val>
                                            <p:strVal val="#ppt_y"/>
                                          </p:val>
                                        </p:tav>
                                      </p:tavLst>
                                    </p:anim>
                                  </p:childTnLst>
                                </p:cTn>
                              </p:par>
                              <p:par>
                                <p:cTn id="25" presetID="2" presetClass="entr" presetSubtype="2" decel="100000" fill="hold" grpId="0" nodeType="withEffect">
                                  <p:stCondLst>
                                    <p:cond delay="0"/>
                                  </p:stCondLst>
                                  <p:childTnLst>
                                    <p:set>
                                      <p:cBhvr>
                                        <p:cTn id="26" dur="1" fill="hold">
                                          <p:stCondLst>
                                            <p:cond delay="0"/>
                                          </p:stCondLst>
                                        </p:cTn>
                                        <p:tgtEl>
                                          <p:spTgt spid="5">
                                            <p:txEl>
                                              <p:pRg st="5" end="5"/>
                                            </p:txEl>
                                          </p:spTgt>
                                        </p:tgtEl>
                                        <p:attrNameLst>
                                          <p:attrName>style.visibility</p:attrName>
                                        </p:attrNameLst>
                                      </p:cBhvr>
                                      <p:to>
                                        <p:strVal val="visible"/>
                                      </p:to>
                                    </p:set>
                                    <p:anim calcmode="lin" valueType="num">
                                      <p:cBhvr additive="base">
                                        <p:cTn id="27" dur="500" fill="hold"/>
                                        <p:tgtEl>
                                          <p:spTgt spid="5">
                                            <p:txEl>
                                              <p:pRg st="5" end="5"/>
                                            </p:txEl>
                                          </p:spTgt>
                                        </p:tgtEl>
                                        <p:attrNameLst>
                                          <p:attrName>ppt_x</p:attrName>
                                        </p:attrNameLst>
                                      </p:cBhvr>
                                      <p:tavLst>
                                        <p:tav tm="0">
                                          <p:val>
                                            <p:strVal val="1+#ppt_w/2"/>
                                          </p:val>
                                        </p:tav>
                                        <p:tav tm="100000">
                                          <p:val>
                                            <p:strVal val="#ppt_x"/>
                                          </p:val>
                                        </p:tav>
                                      </p:tavLst>
                                    </p:anim>
                                    <p:anim calcmode="lin" valueType="num">
                                      <p:cBhvr additive="base">
                                        <p:cTn id="28" dur="500" fill="hold"/>
                                        <p:tgtEl>
                                          <p:spTgt spid="5">
                                            <p:txEl>
                                              <p:pRg st="5" end="5"/>
                                            </p:txEl>
                                          </p:spTgt>
                                        </p:tgtEl>
                                        <p:attrNameLst>
                                          <p:attrName>ppt_y</p:attrName>
                                        </p:attrNameLst>
                                      </p:cBhvr>
                                      <p:tavLst>
                                        <p:tav tm="0">
                                          <p:val>
                                            <p:strVal val="#ppt_y"/>
                                          </p:val>
                                        </p:tav>
                                        <p:tav tm="100000">
                                          <p:val>
                                            <p:strVal val="#ppt_y"/>
                                          </p:val>
                                        </p:tav>
                                      </p:tavLst>
                                    </p:anim>
                                  </p:childTnLst>
                                </p:cTn>
                              </p:par>
                              <p:par>
                                <p:cTn id="29" presetID="2" presetClass="entr" presetSubtype="2" decel="100000" fill="hold" grpId="0" nodeType="withEffect">
                                  <p:stCondLst>
                                    <p:cond delay="0"/>
                                  </p:stCondLst>
                                  <p:childTnLst>
                                    <p:set>
                                      <p:cBhvr>
                                        <p:cTn id="30" dur="1" fill="hold">
                                          <p:stCondLst>
                                            <p:cond delay="0"/>
                                          </p:stCondLst>
                                        </p:cTn>
                                        <p:tgtEl>
                                          <p:spTgt spid="5">
                                            <p:txEl>
                                              <p:pRg st="6" end="6"/>
                                            </p:txEl>
                                          </p:spTgt>
                                        </p:tgtEl>
                                        <p:attrNameLst>
                                          <p:attrName>style.visibility</p:attrName>
                                        </p:attrNameLst>
                                      </p:cBhvr>
                                      <p:to>
                                        <p:strVal val="visible"/>
                                      </p:to>
                                    </p:set>
                                    <p:anim calcmode="lin" valueType="num">
                                      <p:cBhvr additive="base">
                                        <p:cTn id="31" dur="500" fill="hold"/>
                                        <p:tgtEl>
                                          <p:spTgt spid="5">
                                            <p:txEl>
                                              <p:pRg st="6" end="6"/>
                                            </p:txEl>
                                          </p:spTgt>
                                        </p:tgtEl>
                                        <p:attrNameLst>
                                          <p:attrName>ppt_x</p:attrName>
                                        </p:attrNameLst>
                                      </p:cBhvr>
                                      <p:tavLst>
                                        <p:tav tm="0">
                                          <p:val>
                                            <p:strVal val="1+#ppt_w/2"/>
                                          </p:val>
                                        </p:tav>
                                        <p:tav tm="100000">
                                          <p:val>
                                            <p:strVal val="#ppt_x"/>
                                          </p:val>
                                        </p:tav>
                                      </p:tavLst>
                                    </p:anim>
                                    <p:anim calcmode="lin" valueType="num">
                                      <p:cBhvr additive="base">
                                        <p:cTn id="32" dur="500" fill="hold"/>
                                        <p:tgtEl>
                                          <p:spTgt spid="5">
                                            <p:txEl>
                                              <p:pRg st="6" end="6"/>
                                            </p:txEl>
                                          </p:spTgt>
                                        </p:tgtEl>
                                        <p:attrNameLst>
                                          <p:attrName>ppt_y</p:attrName>
                                        </p:attrNameLst>
                                      </p:cBhvr>
                                      <p:tavLst>
                                        <p:tav tm="0">
                                          <p:val>
                                            <p:strVal val="#ppt_y"/>
                                          </p:val>
                                        </p:tav>
                                        <p:tav tm="100000">
                                          <p:val>
                                            <p:strVal val="#ppt_y"/>
                                          </p:val>
                                        </p:tav>
                                      </p:tavLst>
                                    </p:anim>
                                  </p:childTnLst>
                                </p:cTn>
                              </p:par>
                              <p:par>
                                <p:cTn id="33" presetID="2" presetClass="entr" presetSubtype="2" decel="100000" fill="hold" grpId="0" nodeType="withEffect">
                                  <p:stCondLst>
                                    <p:cond delay="0"/>
                                  </p:stCondLst>
                                  <p:childTnLst>
                                    <p:set>
                                      <p:cBhvr>
                                        <p:cTn id="34" dur="1" fill="hold">
                                          <p:stCondLst>
                                            <p:cond delay="0"/>
                                          </p:stCondLst>
                                        </p:cTn>
                                        <p:tgtEl>
                                          <p:spTgt spid="5">
                                            <p:txEl>
                                              <p:pRg st="7" end="7"/>
                                            </p:txEl>
                                          </p:spTgt>
                                        </p:tgtEl>
                                        <p:attrNameLst>
                                          <p:attrName>style.visibility</p:attrName>
                                        </p:attrNameLst>
                                      </p:cBhvr>
                                      <p:to>
                                        <p:strVal val="visible"/>
                                      </p:to>
                                    </p:set>
                                    <p:anim calcmode="lin" valueType="num">
                                      <p:cBhvr additive="base">
                                        <p:cTn id="35" dur="500" fill="hold"/>
                                        <p:tgtEl>
                                          <p:spTgt spid="5">
                                            <p:txEl>
                                              <p:pRg st="7" end="7"/>
                                            </p:txEl>
                                          </p:spTgt>
                                        </p:tgtEl>
                                        <p:attrNameLst>
                                          <p:attrName>ppt_x</p:attrName>
                                        </p:attrNameLst>
                                      </p:cBhvr>
                                      <p:tavLst>
                                        <p:tav tm="0">
                                          <p:val>
                                            <p:strVal val="1+#ppt_w/2"/>
                                          </p:val>
                                        </p:tav>
                                        <p:tav tm="100000">
                                          <p:val>
                                            <p:strVal val="#ppt_x"/>
                                          </p:val>
                                        </p:tav>
                                      </p:tavLst>
                                    </p:anim>
                                    <p:anim calcmode="lin" valueType="num">
                                      <p:cBhvr additive="base">
                                        <p:cTn id="36" dur="500" fill="hold"/>
                                        <p:tgtEl>
                                          <p:spTgt spid="5">
                                            <p:txEl>
                                              <p:pRg st="7" end="7"/>
                                            </p:txEl>
                                          </p:spTgt>
                                        </p:tgtEl>
                                        <p:attrNameLst>
                                          <p:attrName>ppt_y</p:attrName>
                                        </p:attrNameLst>
                                      </p:cBhvr>
                                      <p:tavLst>
                                        <p:tav tm="0">
                                          <p:val>
                                            <p:strVal val="#ppt_y"/>
                                          </p:val>
                                        </p:tav>
                                        <p:tav tm="100000">
                                          <p:val>
                                            <p:strVal val="#ppt_y"/>
                                          </p:val>
                                        </p:tav>
                                      </p:tavLst>
                                    </p:anim>
                                  </p:childTnLst>
                                </p:cTn>
                              </p:par>
                              <p:par>
                                <p:cTn id="37" presetID="2" presetClass="entr" presetSubtype="2" decel="100000" fill="hold" grpId="0" nodeType="withEffect">
                                  <p:stCondLst>
                                    <p:cond delay="0"/>
                                  </p:stCondLst>
                                  <p:childTnLst>
                                    <p:set>
                                      <p:cBhvr>
                                        <p:cTn id="38" dur="1" fill="hold">
                                          <p:stCondLst>
                                            <p:cond delay="0"/>
                                          </p:stCondLst>
                                        </p:cTn>
                                        <p:tgtEl>
                                          <p:spTgt spid="5">
                                            <p:txEl>
                                              <p:pRg st="8" end="8"/>
                                            </p:txEl>
                                          </p:spTgt>
                                        </p:tgtEl>
                                        <p:attrNameLst>
                                          <p:attrName>style.visibility</p:attrName>
                                        </p:attrNameLst>
                                      </p:cBhvr>
                                      <p:to>
                                        <p:strVal val="visible"/>
                                      </p:to>
                                    </p:set>
                                    <p:anim calcmode="lin" valueType="num">
                                      <p:cBhvr additive="base">
                                        <p:cTn id="39" dur="500" fill="hold"/>
                                        <p:tgtEl>
                                          <p:spTgt spid="5">
                                            <p:txEl>
                                              <p:pRg st="8" end="8"/>
                                            </p:txEl>
                                          </p:spTgt>
                                        </p:tgtEl>
                                        <p:attrNameLst>
                                          <p:attrName>ppt_x</p:attrName>
                                        </p:attrNameLst>
                                      </p:cBhvr>
                                      <p:tavLst>
                                        <p:tav tm="0">
                                          <p:val>
                                            <p:strVal val="1+#ppt_w/2"/>
                                          </p:val>
                                        </p:tav>
                                        <p:tav tm="100000">
                                          <p:val>
                                            <p:strVal val="#ppt_x"/>
                                          </p:val>
                                        </p:tav>
                                      </p:tavLst>
                                    </p:anim>
                                    <p:anim calcmode="lin" valueType="num">
                                      <p:cBhvr additive="base">
                                        <p:cTn id="40" dur="500" fill="hold"/>
                                        <p:tgtEl>
                                          <p:spTgt spid="5">
                                            <p:txEl>
                                              <p:pRg st="8" end="8"/>
                                            </p:txEl>
                                          </p:spTgt>
                                        </p:tgtEl>
                                        <p:attrNameLst>
                                          <p:attrName>ppt_y</p:attrName>
                                        </p:attrNameLst>
                                      </p:cBhvr>
                                      <p:tavLst>
                                        <p:tav tm="0">
                                          <p:val>
                                            <p:strVal val="#ppt_y"/>
                                          </p:val>
                                        </p:tav>
                                        <p:tav tm="100000">
                                          <p:val>
                                            <p:strVal val="#ppt_y"/>
                                          </p:val>
                                        </p:tav>
                                      </p:tavLst>
                                    </p:anim>
                                  </p:childTnLst>
                                </p:cTn>
                              </p:par>
                              <p:par>
                                <p:cTn id="41" presetID="2" presetClass="entr" presetSubtype="2" decel="100000" fill="hold" grpId="0" nodeType="withEffect">
                                  <p:stCondLst>
                                    <p:cond delay="0"/>
                                  </p:stCondLst>
                                  <p:childTnLst>
                                    <p:set>
                                      <p:cBhvr>
                                        <p:cTn id="42" dur="1" fill="hold">
                                          <p:stCondLst>
                                            <p:cond delay="0"/>
                                          </p:stCondLst>
                                        </p:cTn>
                                        <p:tgtEl>
                                          <p:spTgt spid="5">
                                            <p:txEl>
                                              <p:pRg st="9" end="9"/>
                                            </p:txEl>
                                          </p:spTgt>
                                        </p:tgtEl>
                                        <p:attrNameLst>
                                          <p:attrName>style.visibility</p:attrName>
                                        </p:attrNameLst>
                                      </p:cBhvr>
                                      <p:to>
                                        <p:strVal val="visible"/>
                                      </p:to>
                                    </p:set>
                                    <p:anim calcmode="lin" valueType="num">
                                      <p:cBhvr additive="base">
                                        <p:cTn id="43" dur="500" fill="hold"/>
                                        <p:tgtEl>
                                          <p:spTgt spid="5">
                                            <p:txEl>
                                              <p:pRg st="9" end="9"/>
                                            </p:txEl>
                                          </p:spTgt>
                                        </p:tgtEl>
                                        <p:attrNameLst>
                                          <p:attrName>ppt_x</p:attrName>
                                        </p:attrNameLst>
                                      </p:cBhvr>
                                      <p:tavLst>
                                        <p:tav tm="0">
                                          <p:val>
                                            <p:strVal val="1+#ppt_w/2"/>
                                          </p:val>
                                        </p:tav>
                                        <p:tav tm="100000">
                                          <p:val>
                                            <p:strVal val="#ppt_x"/>
                                          </p:val>
                                        </p:tav>
                                      </p:tavLst>
                                    </p:anim>
                                    <p:anim calcmode="lin" valueType="num">
                                      <p:cBhvr additive="base">
                                        <p:cTn id="44" dur="500" fill="hold"/>
                                        <p:tgtEl>
                                          <p:spTgt spid="5">
                                            <p:txEl>
                                              <p:pRg st="9" end="9"/>
                                            </p:txEl>
                                          </p:spTgt>
                                        </p:tgtEl>
                                        <p:attrNameLst>
                                          <p:attrName>ppt_y</p:attrName>
                                        </p:attrNameLst>
                                      </p:cBhvr>
                                      <p:tavLst>
                                        <p:tav tm="0">
                                          <p:val>
                                            <p:strVal val="#ppt_y"/>
                                          </p:val>
                                        </p:tav>
                                        <p:tav tm="100000">
                                          <p:val>
                                            <p:strVal val="#ppt_y"/>
                                          </p:val>
                                        </p:tav>
                                      </p:tavLst>
                                    </p:anim>
                                  </p:childTnLst>
                                </p:cTn>
                              </p:par>
                              <p:par>
                                <p:cTn id="45" presetID="2" presetClass="entr" presetSubtype="2" decel="100000" fill="hold" grpId="0" nodeType="withEffect">
                                  <p:stCondLst>
                                    <p:cond delay="0"/>
                                  </p:stCondLst>
                                  <p:childTnLst>
                                    <p:set>
                                      <p:cBhvr>
                                        <p:cTn id="46" dur="1" fill="hold">
                                          <p:stCondLst>
                                            <p:cond delay="0"/>
                                          </p:stCondLst>
                                        </p:cTn>
                                        <p:tgtEl>
                                          <p:spTgt spid="5">
                                            <p:txEl>
                                              <p:pRg st="10" end="10"/>
                                            </p:txEl>
                                          </p:spTgt>
                                        </p:tgtEl>
                                        <p:attrNameLst>
                                          <p:attrName>style.visibility</p:attrName>
                                        </p:attrNameLst>
                                      </p:cBhvr>
                                      <p:to>
                                        <p:strVal val="visible"/>
                                      </p:to>
                                    </p:set>
                                    <p:anim calcmode="lin" valueType="num">
                                      <p:cBhvr additive="base">
                                        <p:cTn id="47" dur="500" fill="hold"/>
                                        <p:tgtEl>
                                          <p:spTgt spid="5">
                                            <p:txEl>
                                              <p:pRg st="10" end="10"/>
                                            </p:txEl>
                                          </p:spTgt>
                                        </p:tgtEl>
                                        <p:attrNameLst>
                                          <p:attrName>ppt_x</p:attrName>
                                        </p:attrNameLst>
                                      </p:cBhvr>
                                      <p:tavLst>
                                        <p:tav tm="0">
                                          <p:val>
                                            <p:strVal val="1+#ppt_w/2"/>
                                          </p:val>
                                        </p:tav>
                                        <p:tav tm="100000">
                                          <p:val>
                                            <p:strVal val="#ppt_x"/>
                                          </p:val>
                                        </p:tav>
                                      </p:tavLst>
                                    </p:anim>
                                    <p:anim calcmode="lin" valueType="num">
                                      <p:cBhvr additive="base">
                                        <p:cTn id="48" dur="500" fill="hold"/>
                                        <p:tgtEl>
                                          <p:spTgt spid="5">
                                            <p:txEl>
                                              <p:pRg st="10" end="10"/>
                                            </p:txEl>
                                          </p:spTgt>
                                        </p:tgtEl>
                                        <p:attrNameLst>
                                          <p:attrName>ppt_y</p:attrName>
                                        </p:attrNameLst>
                                      </p:cBhvr>
                                      <p:tavLst>
                                        <p:tav tm="0">
                                          <p:val>
                                            <p:strVal val="#ppt_y"/>
                                          </p:val>
                                        </p:tav>
                                        <p:tav tm="100000">
                                          <p:val>
                                            <p:strVal val="#ppt_y"/>
                                          </p:val>
                                        </p:tav>
                                      </p:tavLst>
                                    </p:anim>
                                  </p:childTnLst>
                                </p:cTn>
                              </p:par>
                              <p:par>
                                <p:cTn id="49" presetID="2" presetClass="entr" presetSubtype="2" decel="100000" fill="hold" grpId="0" nodeType="withEffect">
                                  <p:stCondLst>
                                    <p:cond delay="250"/>
                                  </p:stCondLst>
                                  <p:childTnLst>
                                    <p:set>
                                      <p:cBhvr>
                                        <p:cTn id="50" dur="1" fill="hold">
                                          <p:stCondLst>
                                            <p:cond delay="0"/>
                                          </p:stCondLst>
                                        </p:cTn>
                                        <p:tgtEl>
                                          <p:spTgt spid="10"/>
                                        </p:tgtEl>
                                        <p:attrNameLst>
                                          <p:attrName>style.visibility</p:attrName>
                                        </p:attrNameLst>
                                      </p:cBhvr>
                                      <p:to>
                                        <p:strVal val="visible"/>
                                      </p:to>
                                    </p:set>
                                    <p:anim calcmode="lin" valueType="num">
                                      <p:cBhvr additive="base">
                                        <p:cTn id="51" dur="500" fill="hold"/>
                                        <p:tgtEl>
                                          <p:spTgt spid="10"/>
                                        </p:tgtEl>
                                        <p:attrNameLst>
                                          <p:attrName>ppt_x</p:attrName>
                                        </p:attrNameLst>
                                      </p:cBhvr>
                                      <p:tavLst>
                                        <p:tav tm="0">
                                          <p:val>
                                            <p:strVal val="1+#ppt_w/2"/>
                                          </p:val>
                                        </p:tav>
                                        <p:tav tm="100000">
                                          <p:val>
                                            <p:strVal val="#ppt_x"/>
                                          </p:val>
                                        </p:tav>
                                      </p:tavLst>
                                    </p:anim>
                                    <p:anim calcmode="lin" valueType="num">
                                      <p:cBhvr additive="base">
                                        <p:cTn id="52" dur="500" fill="hold"/>
                                        <p:tgtEl>
                                          <p:spTgt spid="1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5" grpId="0" uiExpand="1" build="p"/>
    </p:bld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26"/>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XRmmtj9Uk0K6GWGBb7RAu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ynU8WQDMZkeEmlMRuDGij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6nKz.PWryUeu7CaDkJE7h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TaxKeywordTaxHTField xmlns="230e9df3-be65-4c73-a93b-d1236ebd677e">
      <Terms xmlns="http://schemas.microsoft.com/office/infopath/2007/PartnerControls"/>
    </TaxKeywordTaxHTField>
    <TaxCatchAll xmlns="230e9df3-be65-4c73-a93b-d1236ebd677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CA05B43BE68FE54B90DD26FDFB72BB05" ma:contentTypeVersion="0" ma:contentTypeDescription="Create a new document." ma:contentTypeScope="" ma:versionID="6df1bece345c1749bd9b91e82fa4a03a">
  <xsd:schema xmlns:xsd="http://www.w3.org/2001/XMLSchema" xmlns:xs="http://www.w3.org/2001/XMLSchema" xmlns:p="http://schemas.microsoft.com/office/2006/metadata/properties" xmlns:ns2="230e9df3-be65-4c73-a93b-d1236ebd677e" targetNamespace="http://schemas.microsoft.com/office/2006/metadata/properties" ma:root="true" ma:fieldsID="e317b0b832c9845d3aae3abd1bb0954e" ns2:_="">
    <xsd:import namespace="230e9df3-be65-4c73-a93b-d1236ebd677e"/>
    <xsd:element name="properties">
      <xsd:complexType>
        <xsd:sequence>
          <xsd:element name="documentManagement">
            <xsd:complexType>
              <xsd:all>
                <xsd:element ref="ns2:TaxKeywordTaxHTField" minOccurs="0"/>
                <xsd:element ref="ns2:TaxCatchAll" minOccurs="0"/>
                <xsd:element ref="ns2:TaxCatchAllLabe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KeywordTaxHTField" ma:index="8" nillable="true" ma:taxonomy="true" ma:internalName="TaxKeywordTaxHTField" ma:taxonomyFieldName="TaxKeyword" ma:displayName="Enterprise Keywords"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TaxCatchAll" ma:index="9" nillable="true" ma:displayName="Taxonomy Catch All Column" ma:hidden="true" ma:list="{24ccdd3d-8ee2-4326-a025-466a9d1bc8a2}" ma:internalName="TaxCatchAll" ma:showField="CatchAllData" ma:web="a6005bf8-687e-4195-b520-3fb25bf0cb8a">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hidden="true" ma:list="{24ccdd3d-8ee2-4326-a025-466a9d1bc8a2}" ma:internalName="TaxCatchAllLabel" ma:readOnly="true" ma:showField="CatchAllDataLabel" ma:web="a6005bf8-687e-4195-b520-3fb25bf0cb8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B882D8D6-9D38-4159-A398-AAC3689D3D7C}">
  <ds:schemaRefs>
    <ds:schemaRef ds:uri="http://schemas.microsoft.com/sharepoint/v3/contenttype/forms"/>
  </ds:schemaRefs>
</ds:datastoreItem>
</file>

<file path=customXml/itemProps2.xml><?xml version="1.0" encoding="utf-8"?>
<ds:datastoreItem xmlns:ds="http://schemas.openxmlformats.org/officeDocument/2006/customXml" ds:itemID="{69B2F97D-0457-4986-9734-D03EB073C5EA}">
  <ds:schemaRefs>
    <ds:schemaRef ds:uri="http://purl.org/dc/elements/1.1/"/>
    <ds:schemaRef ds:uri="http://schemas.microsoft.com/office/2006/metadata/properties"/>
    <ds:schemaRef ds:uri="http://purl.org/dc/terms/"/>
    <ds:schemaRef ds:uri="http://purl.org/dc/dcmitype/"/>
    <ds:schemaRef ds:uri="http://schemas.microsoft.com/office/2006/documentManagement/types"/>
    <ds:schemaRef ds:uri="230e9df3-be65-4c73-a93b-d1236ebd677e"/>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8F590144-748D-417B-8B69-088F107B0F9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2972</TotalTime>
  <Words>215</Words>
  <Application>Microsoft Office PowerPoint</Application>
  <PresentationFormat>Custom</PresentationFormat>
  <Paragraphs>64</Paragraphs>
  <Slides>11</Slides>
  <Notes>10</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11</vt:i4>
      </vt:variant>
    </vt:vector>
  </HeadingPairs>
  <TitlesOfParts>
    <vt:vector size="19" baseType="lpstr">
      <vt:lpstr>Arial</vt:lpstr>
      <vt:lpstr>Segoe Light</vt:lpstr>
      <vt:lpstr>Segoe UI Light</vt:lpstr>
      <vt:lpstr>Segoe UI</vt:lpstr>
      <vt:lpstr>Consolas</vt:lpstr>
      <vt:lpstr>MS1444_Windows Azure Template 16x9_r08b</vt:lpstr>
      <vt:lpstr>White with Consolas font for code slides</vt:lpstr>
      <vt:lpstr>think-cell Slide</vt:lpstr>
      <vt:lpstr>WebCamps Online</vt:lpstr>
      <vt:lpstr>Welcome Back to the Microsoft Web Stack</vt:lpstr>
      <vt:lpstr>Agenda </vt:lpstr>
      <vt:lpstr>Integrating Your Site with Internet Explorer 9 (&amp; 10!)</vt:lpstr>
      <vt:lpstr>WebMatrix 2.0</vt:lpstr>
      <vt:lpstr>Creating Rich HTML 5 Experiences</vt:lpstr>
      <vt:lpstr>Building Web Sites Using ASP.NET 4.5</vt:lpstr>
      <vt:lpstr>Building Web APIs in Windows Azure</vt:lpstr>
      <vt:lpstr>Deploying ASP.NET Apps to the Cloud</vt:lpstr>
      <vt:lpstr>Resources</vt:lpstr>
      <vt:lpstr>PowerPoint Presentation</vt:lpstr>
    </vt:vector>
  </TitlesOfParts>
  <Company>Artitudes Design</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indows Azure Overview</dc:title>
  <dc:subject>Windows Azure</dc:subject>
  <dc:creator>Artitudes Design</dc:creator>
  <cp:lastModifiedBy>Brady Gaster</cp:lastModifiedBy>
  <cp:revision>279</cp:revision>
  <cp:lastPrinted>2011-10-11T14:25:22Z</cp:lastPrinted>
  <dcterms:created xsi:type="dcterms:W3CDTF">2011-03-29T16:07:22Z</dcterms:created>
  <dcterms:modified xsi:type="dcterms:W3CDTF">2012-05-02T18:31:4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A05B43BE68FE54B90DD26FDFB72BB05</vt:lpwstr>
  </property>
</Properties>
</file>